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32"/>
  </p:notesMasterIdLst>
  <p:sldIdLst>
    <p:sldId id="294" r:id="rId2"/>
    <p:sldId id="392" r:id="rId3"/>
    <p:sldId id="340" r:id="rId4"/>
    <p:sldId id="284" r:id="rId5"/>
    <p:sldId id="285" r:id="rId6"/>
    <p:sldId id="293" r:id="rId7"/>
    <p:sldId id="393" r:id="rId8"/>
    <p:sldId id="366" r:id="rId9"/>
    <p:sldId id="388" r:id="rId10"/>
    <p:sldId id="389" r:id="rId11"/>
    <p:sldId id="368" r:id="rId12"/>
    <p:sldId id="369" r:id="rId13"/>
    <p:sldId id="383" r:id="rId14"/>
    <p:sldId id="384" r:id="rId15"/>
    <p:sldId id="387" r:id="rId16"/>
    <p:sldId id="397" r:id="rId17"/>
    <p:sldId id="394" r:id="rId18"/>
    <p:sldId id="371" r:id="rId19"/>
    <p:sldId id="373" r:id="rId20"/>
    <p:sldId id="390" r:id="rId21"/>
    <p:sldId id="372" r:id="rId22"/>
    <p:sldId id="395" r:id="rId23"/>
    <p:sldId id="356" r:id="rId24"/>
    <p:sldId id="378" r:id="rId25"/>
    <p:sldId id="396" r:id="rId26"/>
    <p:sldId id="347" r:id="rId27"/>
    <p:sldId id="333" r:id="rId28"/>
    <p:sldId id="338" r:id="rId29"/>
    <p:sldId id="339" r:id="rId30"/>
    <p:sldId id="345" r:id="rId31"/>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5716F8"/>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1FECB4D8-DB02-4DC6-A0A2-4F2EBAE1DC90}" styleName="Medium Style 1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howGuides="1">
      <p:cViewPr varScale="1">
        <p:scale>
          <a:sx n="69" d="100"/>
          <a:sy n="69" d="100"/>
        </p:scale>
        <p:origin x="-1416" y="-96"/>
      </p:cViewPr>
      <p:guideLst>
        <p:guide orient="horz" pos="2160"/>
        <p:guide pos="2880"/>
      </p:guideLst>
    </p:cSldViewPr>
  </p:slideViewPr>
  <p:notesTextViewPr>
    <p:cViewPr>
      <p:scale>
        <a:sx n="1" d="1"/>
        <a:sy n="1" d="1"/>
      </p:scale>
      <p:origin x="0" y="0"/>
    </p:cViewPr>
  </p:notesTextViewPr>
  <p:sorterViewPr>
    <p:cViewPr>
      <p:scale>
        <a:sx n="89" d="100"/>
        <a:sy n="89"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viewProps" Target="view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presProps" Target="pres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notesMaster" Target="notesMasters/notesMaster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tableStyles" Target="tableStyle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NULL"/></Relationships>
</file>

<file path=ppt/drawings/_rels/vmlDrawing2.vml.rels><?xml version="1.0" encoding="UTF-8" standalone="yes"?>
<Relationships xmlns="http://schemas.openxmlformats.org/package/2006/relationships"><Relationship Id="rId2" Type="http://schemas.openxmlformats.org/officeDocument/2006/relationships/image" Target="../media/image39.emf"/><Relationship Id="rId1" Type="http://schemas.openxmlformats.org/officeDocument/2006/relationships/image" Target="../media/image38.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60.png"/></Relationships>
</file>

<file path=ppt/drawings/_rels/vmlDrawing4.vml.rels><?xml version="1.0" encoding="UTF-8" standalone="yes"?>
<Relationships xmlns="http://schemas.openxmlformats.org/package/2006/relationships"><Relationship Id="rId1" Type="http://schemas.openxmlformats.org/officeDocument/2006/relationships/image" Target="../media/image62.png"/></Relationships>
</file>

<file path=ppt/drawings/_rels/vmlDrawing5.vml.rels><?xml version="1.0" encoding="UTF-8" standalone="yes"?>
<Relationships xmlns="http://schemas.openxmlformats.org/package/2006/relationships"><Relationship Id="rId1" Type="http://schemas.openxmlformats.org/officeDocument/2006/relationships/image" Target="../media/image63.png"/></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IN"/>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91A9F158-1110-4884-B819-0781689BA9C7}" type="datetimeFigureOut">
              <a:rPr lang="en-IN" smtClean="0"/>
              <a:t>11-11-2013</a:t>
            </a:fld>
            <a:endParaRPr lang="en-IN"/>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n-IN"/>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IN"/>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E03B40A1-9D69-4968-B364-6D55D3B5DC95}" type="slidenum">
              <a:rPr lang="en-IN" smtClean="0"/>
              <a:t>‹#›</a:t>
            </a:fld>
            <a:endParaRPr lang="en-IN"/>
          </a:p>
        </p:txBody>
      </p:sp>
    </p:spTree>
    <p:extLst>
      <p:ext uri="{BB962C8B-B14F-4D97-AF65-F5344CB8AC3E}">
        <p14:creationId xmlns:p14="http://schemas.microsoft.com/office/powerpoint/2010/main" val="276085270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21965BD-C0D9-4461-B00B-00185947B6D8}" type="slidenum">
              <a:rPr lang="en-IN" smtClean="0">
                <a:solidFill>
                  <a:prstClr val="black"/>
                </a:solidFill>
              </a:rPr>
              <a:pPr/>
              <a:t>1</a:t>
            </a:fld>
            <a:endParaRPr lang="en-IN" dirty="0">
              <a:solidFill>
                <a:prstClr val="black"/>
              </a:solidFill>
            </a:endParaRPr>
          </a:p>
        </p:txBody>
      </p:sp>
    </p:spTree>
    <p:extLst>
      <p:ext uri="{BB962C8B-B14F-4D97-AF65-F5344CB8AC3E}">
        <p14:creationId xmlns:p14="http://schemas.microsoft.com/office/powerpoint/2010/main" val="333840390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E0F899C3-CDCC-4E5A-B9C8-BCF0B08EA614}" type="slidenum">
              <a:rPr lang="en-US"/>
              <a:pPr/>
              <a:t>16</a:t>
            </a:fld>
            <a:endParaRPr lang="en-US"/>
          </a:p>
        </p:txBody>
      </p:sp>
      <p:sp>
        <p:nvSpPr>
          <p:cNvPr id="312322" name="Rectangle 2"/>
          <p:cNvSpPr>
            <a:spLocks noGrp="1" noRot="1" noChangeAspect="1" noChangeArrowheads="1" noTextEdit="1"/>
          </p:cNvSpPr>
          <p:nvPr>
            <p:ph type="sldImg"/>
          </p:nvPr>
        </p:nvSpPr>
        <p:spPr>
          <a:ln/>
        </p:spPr>
      </p:sp>
      <p:sp>
        <p:nvSpPr>
          <p:cNvPr id="312323" name="Rectangle 3"/>
          <p:cNvSpPr>
            <a:spLocks noGrp="1" noChangeArrowheads="1"/>
          </p:cNvSpPr>
          <p:nvPr>
            <p:ph type="body" idx="1"/>
          </p:nvPr>
        </p:nvSpPr>
        <p:spPr/>
        <p:txBody>
          <a:bodyPr/>
          <a:lstStyle/>
          <a:p>
            <a:r>
              <a:rPr lang="en-US" altLang="zh-CN" b="1" u="sng"/>
              <a:t>No. of Clicks</a:t>
            </a:r>
            <a:r>
              <a:rPr lang="en-US" altLang="zh-CN" b="1"/>
              <a:t>:       4   -   (1) Diesel App. Zone   (2) Example 1   (3) Example 2   (4) Next Slide</a:t>
            </a:r>
          </a:p>
          <a:p>
            <a:endParaRPr lang="en-US" altLang="zh-CN" b="1"/>
          </a:p>
          <a:p>
            <a:r>
              <a:rPr lang="en-US" altLang="zh-CN" b="1" u="sng"/>
              <a:t>Presentation Notes</a:t>
            </a:r>
            <a:r>
              <a:rPr lang="en-US" altLang="zh-CN" b="1"/>
              <a:t>:</a:t>
            </a:r>
          </a:p>
          <a:p>
            <a:endParaRPr lang="en-US" altLang="zh-CN" b="1"/>
          </a:p>
          <a:p>
            <a:r>
              <a:rPr lang="en-US" altLang="zh-CN" b="1"/>
              <a:t>  </a:t>
            </a:r>
            <a:r>
              <a:rPr lang="en-US" altLang="zh-CN" b="1">
                <a:solidFill>
                  <a:srgbClr val="FF0000"/>
                </a:solidFill>
              </a:rPr>
              <a:t>#1</a:t>
            </a:r>
            <a:r>
              <a:rPr lang="en-US" altLang="zh-CN" b="1"/>
              <a:t> - Primary Graph Concept is to define lowest cost/ton option for two key variables:</a:t>
            </a:r>
          </a:p>
          <a:p>
            <a:r>
              <a:rPr lang="en-US" altLang="zh-CN" b="1"/>
              <a:t>        * Diesel Fuel Cost</a:t>
            </a:r>
          </a:p>
          <a:p>
            <a:r>
              <a:rPr lang="en-US" altLang="zh-CN" b="1"/>
              <a:t>        * Electric Power Cost</a:t>
            </a:r>
          </a:p>
          <a:p>
            <a:endParaRPr lang="en-US" altLang="zh-CN" b="1"/>
          </a:p>
          <a:p>
            <a:r>
              <a:rPr lang="en-US" altLang="zh-CN" b="1"/>
              <a:t>  -  Trolley Feasibility Readily apparent based on large size of 1000 meter application.</a:t>
            </a:r>
          </a:p>
          <a:p>
            <a:endParaRPr lang="en-US" altLang="zh-CN" b="1"/>
          </a:p>
          <a:p>
            <a:r>
              <a:rPr lang="en-US" altLang="zh-CN" b="1"/>
              <a:t> -   Trolley Segment Grade = 8% + 1%.</a:t>
            </a:r>
          </a:p>
          <a:p>
            <a:r>
              <a:rPr lang="en-US" altLang="zh-CN" b="1"/>
              <a:t> -   Diesel Fuel Cons. = 35 lph</a:t>
            </a:r>
          </a:p>
          <a:p>
            <a:r>
              <a:rPr lang="en-US" altLang="zh-CN" b="1"/>
              <a:t> -   Power Cons. = 3420 kw (1800 v  x  1900 amps)</a:t>
            </a:r>
          </a:p>
          <a:p>
            <a:r>
              <a:rPr lang="en-US" altLang="zh-CN" b="1"/>
              <a:t> -   Trolley System Avail. = 80%</a:t>
            </a:r>
          </a:p>
          <a:p>
            <a:r>
              <a:rPr lang="en-US" altLang="zh-CN" b="1"/>
              <a:t>  </a:t>
            </a:r>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1074" name="Rectangle 7"/>
          <p:cNvSpPr>
            <a:spLocks noGrp="1" noChangeArrowheads="1"/>
          </p:cNvSpPr>
          <p:nvPr>
            <p:ph type="sldNum" sz="quarter" idx="5"/>
          </p:nvPr>
        </p:nvSpPr>
        <p:spPr>
          <a:noFill/>
        </p:spPr>
        <p:txBody>
          <a:bodyPr/>
          <a:lstStyle/>
          <a:p>
            <a:fld id="{D74D7927-85F2-4A96-A4DE-0E16B3430E3F}" type="slidenum">
              <a:rPr lang="en-US" altLang="ja-JP"/>
              <a:pPr/>
              <a:t>18</a:t>
            </a:fld>
            <a:endParaRPr lang="en-US" altLang="ja-JP"/>
          </a:p>
        </p:txBody>
      </p:sp>
      <p:sp>
        <p:nvSpPr>
          <p:cNvPr id="131075" name="Rectangle 2"/>
          <p:cNvSpPr>
            <a:spLocks noGrp="1" noRot="1" noChangeAspect="1" noChangeArrowheads="1" noTextEdit="1"/>
          </p:cNvSpPr>
          <p:nvPr>
            <p:ph type="sldImg"/>
          </p:nvPr>
        </p:nvSpPr>
        <p:spPr>
          <a:ln/>
        </p:spPr>
      </p:sp>
      <p:sp>
        <p:nvSpPr>
          <p:cNvPr id="131076" name="Rectangle 3"/>
          <p:cNvSpPr>
            <a:spLocks noGrp="1" noChangeArrowheads="1"/>
          </p:cNvSpPr>
          <p:nvPr>
            <p:ph type="body" idx="1"/>
          </p:nvPr>
        </p:nvSpPr>
        <p:spPr>
          <a:noFill/>
          <a:ln/>
        </p:spPr>
        <p:txBody>
          <a:bodyPr/>
          <a:lstStyle/>
          <a:p>
            <a:r>
              <a:rPr lang="en-US" altLang="ja-JP" smtClean="0"/>
              <a:t>KOMTRAX is a machine management system for construction equipment, utilizing web technology.</a:t>
            </a:r>
            <a:endParaRPr lang="ja-JP" altLang="en-US" smtClean="0"/>
          </a:p>
          <a:p>
            <a:r>
              <a:rPr lang="en-US" altLang="ja-JP" smtClean="0"/>
              <a:t> </a:t>
            </a:r>
            <a:endParaRPr lang="ja-JP" altLang="en-US" smtClean="0"/>
          </a:p>
          <a:p>
            <a:r>
              <a:rPr lang="en-US" altLang="ja-JP" smtClean="0"/>
              <a:t>The main purpose of this system is to reduce customer's operating cost by monitoring service meters, machine positions, working records, warnings, fuel level and others.</a:t>
            </a:r>
            <a:endParaRPr lang="ja-JP" altLang="en-US" smtClean="0"/>
          </a:p>
          <a:p>
            <a:r>
              <a:rPr lang="en-US" altLang="ja-JP" smtClean="0"/>
              <a:t> </a:t>
            </a:r>
            <a:endParaRPr lang="ja-JP" altLang="en-US" smtClean="0"/>
          </a:p>
          <a:p>
            <a:r>
              <a:rPr lang="en-US" altLang="ja-JP" smtClean="0"/>
              <a:t>The total lifecycle cost of machines consists of machine cost and operating cost. The operating cost includes maintenance, fuel, and the operator's wage. In general, the operating cost is as much as two to three times higher than the machine cost. KOMTRAX aims to lower the operating cost.</a:t>
            </a:r>
            <a:endParaRPr lang="ja-JP" altLang="en-US" smtClean="0"/>
          </a:p>
          <a:p>
            <a:r>
              <a:rPr lang="en-US" altLang="ja-JP" smtClean="0"/>
              <a:t> </a:t>
            </a:r>
            <a:endParaRPr lang="ja-JP" altLang="en-US" smtClean="0"/>
          </a:p>
          <a:p>
            <a:r>
              <a:rPr lang="en-US" altLang="ja-JP" smtClean="0"/>
              <a:t>The chart at the center of this slide, shows how KOMTRAX works:</a:t>
            </a:r>
            <a:endParaRPr lang="ja-JP" altLang="en-US" smtClean="0"/>
          </a:p>
          <a:p>
            <a:r>
              <a:rPr lang="en-US" altLang="ja-JP" smtClean="0"/>
              <a:t>Machines are equipped with computers such as a pump controller and an engine controller. Information concerning operating conditions gathered through these controllers is sent to the KOMTRAX terminal. As for machine positioning, KOMTRAX receives the information from GPS satellites.</a:t>
            </a:r>
            <a:endParaRPr lang="ja-JP" altLang="en-US" smtClean="0"/>
          </a:p>
          <a:p>
            <a:r>
              <a:rPr lang="en-US" altLang="ja-JP" smtClean="0"/>
              <a:t> </a:t>
            </a:r>
            <a:endParaRPr lang="ja-JP" altLang="en-US" smtClean="0"/>
          </a:p>
          <a:p>
            <a:r>
              <a:rPr lang="en-US" altLang="ja-JP" smtClean="0"/>
              <a:t>The collected information is then converted into a data format which our customers can easily see after analyzing the data with web applications. Then the information is transmitted to customers and distributors all over the world.</a:t>
            </a:r>
            <a:endParaRPr lang="ja-JP" altLang="en-US" smtClean="0"/>
          </a:p>
          <a:p>
            <a:r>
              <a:rPr lang="en-US" altLang="ja-JP" smtClean="0"/>
              <a:t> </a:t>
            </a:r>
            <a:endParaRPr lang="ja-JP" altLang="en-US" smtClean="0"/>
          </a:p>
          <a:p>
            <a:r>
              <a:rPr lang="en-US" altLang="ja-JP" smtClean="0"/>
              <a:t>In 2009, the number of KOMTRAX-equipped machines has topped the 140,000 mark.</a:t>
            </a:r>
            <a:endParaRPr lang="ja-JP" altLang="en-US" smtClean="0"/>
          </a:p>
          <a:p>
            <a:pPr eaLnBrk="1" hangingPunct="1"/>
            <a:endParaRPr lang="en-US" altLang="ja-JP" smtClean="0">
              <a:cs typeface="Arial" charset="0"/>
            </a:endParaRPr>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10"/>
          </p:nvPr>
        </p:nvSpPr>
        <p:spPr/>
        <p:txBody>
          <a:bodyPr/>
          <a:lstStyle/>
          <a:p>
            <a:pPr>
              <a:defRPr/>
            </a:pPr>
            <a:fld id="{D39DB704-A1A6-47F7-8E3C-2E44B9CA149E}" type="slidenum">
              <a:rPr lang="en-US" smtClean="0"/>
              <a:pPr>
                <a:defRPr/>
              </a:pPr>
              <a:t>19</a:t>
            </a:fld>
            <a:endParaRPr lang="en-US" dirty="0"/>
          </a:p>
        </p:txBody>
      </p:sp>
    </p:spTree>
    <p:extLst>
      <p:ext uri="{BB962C8B-B14F-4D97-AF65-F5344CB8AC3E}">
        <p14:creationId xmlns:p14="http://schemas.microsoft.com/office/powerpoint/2010/main" val="422524128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1074" name="Rectangle 13"/>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55622">
              <a:defRPr sz="1400" b="1">
                <a:solidFill>
                  <a:schemeClr val="tx1"/>
                </a:solidFill>
                <a:latin typeface="Arial" charset="0"/>
                <a:cs typeface="Arial" charset="0"/>
              </a:defRPr>
            </a:lvl1pPr>
            <a:lvl2pPr marL="742909" indent="-285734" defTabSz="955622">
              <a:defRPr sz="1400" b="1">
                <a:solidFill>
                  <a:schemeClr val="tx1"/>
                </a:solidFill>
                <a:latin typeface="Arial" charset="0"/>
                <a:cs typeface="Arial" charset="0"/>
              </a:defRPr>
            </a:lvl2pPr>
            <a:lvl3pPr marL="1142937" indent="-228587" defTabSz="955622">
              <a:defRPr sz="1400" b="1">
                <a:solidFill>
                  <a:schemeClr val="tx1"/>
                </a:solidFill>
                <a:latin typeface="Arial" charset="0"/>
                <a:cs typeface="Arial" charset="0"/>
              </a:defRPr>
            </a:lvl3pPr>
            <a:lvl4pPr marL="1600112" indent="-228587" defTabSz="955622">
              <a:defRPr sz="1400" b="1">
                <a:solidFill>
                  <a:schemeClr val="tx1"/>
                </a:solidFill>
                <a:latin typeface="Arial" charset="0"/>
                <a:cs typeface="Arial" charset="0"/>
              </a:defRPr>
            </a:lvl4pPr>
            <a:lvl5pPr marL="2057287" indent="-228587" defTabSz="955622">
              <a:defRPr sz="1400" b="1">
                <a:solidFill>
                  <a:schemeClr val="tx1"/>
                </a:solidFill>
                <a:latin typeface="Arial" charset="0"/>
                <a:cs typeface="Arial" charset="0"/>
              </a:defRPr>
            </a:lvl5pPr>
            <a:lvl6pPr marL="2514461" indent="-228587" defTabSz="955622" eaLnBrk="0" fontAlgn="base" hangingPunct="0">
              <a:spcBef>
                <a:spcPct val="0"/>
              </a:spcBef>
              <a:spcAft>
                <a:spcPct val="0"/>
              </a:spcAft>
              <a:defRPr sz="1400" b="1">
                <a:solidFill>
                  <a:schemeClr val="tx1"/>
                </a:solidFill>
                <a:latin typeface="Arial" charset="0"/>
                <a:cs typeface="Arial" charset="0"/>
              </a:defRPr>
            </a:lvl6pPr>
            <a:lvl7pPr marL="2971635" indent="-228587" defTabSz="955622" eaLnBrk="0" fontAlgn="base" hangingPunct="0">
              <a:spcBef>
                <a:spcPct val="0"/>
              </a:spcBef>
              <a:spcAft>
                <a:spcPct val="0"/>
              </a:spcAft>
              <a:defRPr sz="1400" b="1">
                <a:solidFill>
                  <a:schemeClr val="tx1"/>
                </a:solidFill>
                <a:latin typeface="Arial" charset="0"/>
                <a:cs typeface="Arial" charset="0"/>
              </a:defRPr>
            </a:lvl7pPr>
            <a:lvl8pPr marL="3428810" indent="-228587" defTabSz="955622" eaLnBrk="0" fontAlgn="base" hangingPunct="0">
              <a:spcBef>
                <a:spcPct val="0"/>
              </a:spcBef>
              <a:spcAft>
                <a:spcPct val="0"/>
              </a:spcAft>
              <a:defRPr sz="1400" b="1">
                <a:solidFill>
                  <a:schemeClr val="tx1"/>
                </a:solidFill>
                <a:latin typeface="Arial" charset="0"/>
                <a:cs typeface="Arial" charset="0"/>
              </a:defRPr>
            </a:lvl8pPr>
            <a:lvl9pPr marL="3885985" indent="-228587" defTabSz="955622" eaLnBrk="0" fontAlgn="base" hangingPunct="0">
              <a:spcBef>
                <a:spcPct val="0"/>
              </a:spcBef>
              <a:spcAft>
                <a:spcPct val="0"/>
              </a:spcAft>
              <a:defRPr sz="1400" b="1">
                <a:solidFill>
                  <a:schemeClr val="tx1"/>
                </a:solidFill>
                <a:latin typeface="Arial" charset="0"/>
                <a:cs typeface="Arial" charset="0"/>
              </a:defRPr>
            </a:lvl9pPr>
          </a:lstStyle>
          <a:p>
            <a:fld id="{478B2E6A-DB45-42CD-B244-2343C05D770E}" type="slidenum">
              <a:rPr lang="en-US" altLang="ja-JP" sz="1200"/>
              <a:pPr/>
              <a:t>21</a:t>
            </a:fld>
            <a:endParaRPr lang="en-US" altLang="ja-JP" sz="1200" dirty="0"/>
          </a:p>
        </p:txBody>
      </p:sp>
      <p:sp>
        <p:nvSpPr>
          <p:cNvPr id="131075" name="Rectangle 6"/>
          <p:cNvSpPr>
            <a:spLocks noGrp="1" noRot="1" noChangeAspect="1" noChangeArrowheads="1" noTextEdit="1"/>
          </p:cNvSpPr>
          <p:nvPr>
            <p:ph type="sldImg"/>
          </p:nvPr>
        </p:nvSpPr>
        <p:spPr>
          <a:ln/>
        </p:spPr>
      </p:sp>
      <p:sp>
        <p:nvSpPr>
          <p:cNvPr id="131076" name="Rectangle 7"/>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ja-JP" smtClean="0">
              <a:cs typeface="Arial" charset="0"/>
            </a:endParaRPr>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1031"/>
          <p:cNvSpPr>
            <a:spLocks noGrp="1" noChangeArrowheads="1"/>
          </p:cNvSpPr>
          <p:nvPr>
            <p:ph type="sldNum" sz="quarter" idx="5"/>
          </p:nvPr>
        </p:nvSpPr>
        <p:spPr>
          <a:ln/>
        </p:spPr>
        <p:txBody>
          <a:bodyPr/>
          <a:lstStyle/>
          <a:p>
            <a:fld id="{4E78823D-A326-4B90-BF34-7969045D2E0F}" type="slidenum">
              <a:rPr lang="en-US"/>
              <a:pPr/>
              <a:t>23</a:t>
            </a:fld>
            <a:endParaRPr lang="en-US"/>
          </a:p>
        </p:txBody>
      </p:sp>
      <p:sp>
        <p:nvSpPr>
          <p:cNvPr id="32770" name="Rectangle 2"/>
          <p:cNvSpPr>
            <a:spLocks noGrp="1" noRot="1" noChangeAspect="1" noChangeArrowheads="1" noTextEdit="1"/>
          </p:cNvSpPr>
          <p:nvPr>
            <p:ph type="sldImg"/>
          </p:nvPr>
        </p:nvSpPr>
        <p:spPr>
          <a:ln/>
        </p:spPr>
      </p:sp>
      <p:sp>
        <p:nvSpPr>
          <p:cNvPr id="32772" name="Rectangle 4"/>
          <p:cNvSpPr>
            <a:spLocks noGrp="1" noChangeArrowheads="1"/>
          </p:cNvSpPr>
          <p:nvPr>
            <p:ph type="body" idx="1"/>
          </p:nvPr>
        </p:nvSpPr>
        <p:spPr/>
        <p:txBody>
          <a:bodyPr/>
          <a:lstStyle/>
          <a:p>
            <a:pPr algn="just">
              <a:lnSpc>
                <a:spcPct val="112000"/>
              </a:lnSpc>
            </a:pPr>
            <a:r>
              <a:rPr lang="en-US"/>
              <a:t>DISPATCH is the management system for mining operation.  DISPATCH is developed by Modular Mining Systems, one of Komatsu group companies.  Positioning of machines can be easily identified by GPS-based DISPATCH and enables you to dispatch the right machine to the right place, and optimizes the assignment of the fleet.  DISPATCH is used in many mining sites and is the de facto standard on a worldwide basis.</a:t>
            </a:r>
          </a:p>
          <a:p>
            <a:endParaRPr lang="en-US"/>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Rectangle 7"/>
          <p:cNvSpPr>
            <a:spLocks noGrp="1" noChangeArrowheads="1"/>
          </p:cNvSpPr>
          <p:nvPr>
            <p:ph type="sldNum" sz="quarter" idx="5"/>
          </p:nvPr>
        </p:nvSpPr>
        <p:spPr>
          <a:noFill/>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fld id="{ED6595E4-9597-48BA-A0D9-E13448B6A1F7}" type="slidenum">
              <a:rPr lang="en-US"/>
              <a:pPr eaLnBrk="1" hangingPunct="1"/>
              <a:t>27</a:t>
            </a:fld>
            <a:endParaRPr lang="en-US"/>
          </a:p>
        </p:txBody>
      </p:sp>
      <p:sp>
        <p:nvSpPr>
          <p:cNvPr id="19459" name="Rectangle 2"/>
          <p:cNvSpPr>
            <a:spLocks noGrp="1" noRot="1" noChangeAspect="1" noChangeArrowheads="1" noTextEdit="1"/>
          </p:cNvSpPr>
          <p:nvPr>
            <p:ph type="sldImg"/>
          </p:nvPr>
        </p:nvSpPr>
        <p:spPr>
          <a:xfrm>
            <a:off x="1146175" y="687388"/>
            <a:ext cx="4570413" cy="3427412"/>
          </a:xfrm>
          <a:ln/>
        </p:spPr>
      </p:sp>
      <p:sp>
        <p:nvSpPr>
          <p:cNvPr id="19460" name="Rectangle 3"/>
          <p:cNvSpPr>
            <a:spLocks noGrp="1" noChangeArrowheads="1"/>
          </p:cNvSpPr>
          <p:nvPr>
            <p:ph type="body" idx="1"/>
          </p:nvPr>
        </p:nvSpPr>
        <p:spPr>
          <a:xfrm>
            <a:off x="915988" y="4343400"/>
            <a:ext cx="5026025" cy="4113213"/>
          </a:xfrm>
          <a:noFill/>
        </p:spPr>
        <p:txBody>
          <a:bodyPr/>
          <a:lstStyle/>
          <a:p>
            <a:pPr eaLnBrk="1" hangingPunct="1"/>
            <a:endParaRPr lang="en-US" smtClean="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FE40D8D2-3520-4183-A048-A1A6FE4B07ED}" type="slidenum">
              <a:rPr lang="en-US" smtClean="0"/>
              <a:pPr/>
              <a:t>8</a:t>
            </a:fld>
            <a:endParaRPr lang="en-US"/>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FE40D8D2-3520-4183-A048-A1A6FE4B07ED}" type="slidenum">
              <a:rPr lang="en-US" smtClean="0"/>
              <a:pPr/>
              <a:t>9</a:t>
            </a:fld>
            <a:endParaRPr lang="en-US"/>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6A3082D1-26CD-4BB5-84C5-5DBE7C929516}" type="slidenum">
              <a:rPr lang="en-US" altLang="ja-JP"/>
              <a:pPr/>
              <a:t>10</a:t>
            </a:fld>
            <a:endParaRPr lang="en-US" altLang="ja-JP"/>
          </a:p>
        </p:txBody>
      </p:sp>
      <p:sp>
        <p:nvSpPr>
          <p:cNvPr id="39940" name="Rectangle 4"/>
          <p:cNvSpPr>
            <a:spLocks noGrp="1" noRot="1" noChangeAspect="1" noChangeArrowheads="1" noTextEdit="1"/>
          </p:cNvSpPr>
          <p:nvPr>
            <p:ph type="sldImg"/>
          </p:nvPr>
        </p:nvSpPr>
        <p:spPr>
          <a:ln/>
        </p:spPr>
      </p:sp>
      <p:sp>
        <p:nvSpPr>
          <p:cNvPr id="39941" name="Rectangle 5"/>
          <p:cNvSpPr>
            <a:spLocks noGrp="1" noChangeArrowheads="1"/>
          </p:cNvSpPr>
          <p:nvPr>
            <p:ph type="body" idx="1"/>
          </p:nvPr>
        </p:nvSpPr>
        <p:spPr/>
        <p:txBody>
          <a:bodyPr/>
          <a:lstStyle/>
          <a:p>
            <a:r>
              <a:rPr lang="en-US" altLang="ja-JP" dirty="0">
                <a:cs typeface="Arial" charset="0"/>
              </a:rPr>
              <a:t>Building on the technology and expertise Komatsu has accumulated during more than 85 years of successful business operations: - GALEO presents customers worldwide with a strong, distinctive image of technological innovation and exceptional value. Designed with high productivity, safety and environmental considerations in mind, as it is expressed in "Genuine Answers for Land &amp; Environment Optimization", the machines in this line reflect Komatsu's commitment to contributing to the creation of a better world.</a:t>
            </a:r>
          </a:p>
          <a:p>
            <a:endParaRPr lang="en-US" altLang="ja-JP" dirty="0">
              <a:cs typeface="Arial" charset="0"/>
            </a:endParaRPr>
          </a:p>
          <a:p>
            <a:r>
              <a:rPr lang="en-US" altLang="ja-JP" dirty="0">
                <a:cs typeface="Arial" charset="0"/>
              </a:rPr>
              <a:t>Four elements are contained with the GALEO name, each an essential theme for our business:</a:t>
            </a:r>
          </a:p>
          <a:p>
            <a:pPr lvl="1" indent="-188902">
              <a:buFontTx/>
              <a:buAutoNum type="arabicPeriod"/>
            </a:pPr>
            <a:r>
              <a:rPr lang="en-US" altLang="ja-JP" dirty="0">
                <a:cs typeface="Arial" charset="0"/>
              </a:rPr>
              <a:t>Providing optimal solutions benefiting from information technology;</a:t>
            </a:r>
          </a:p>
          <a:p>
            <a:pPr lvl="1" indent="-188902">
              <a:buFontTx/>
              <a:buAutoNum type="arabicPeriod"/>
            </a:pPr>
            <a:r>
              <a:rPr lang="en-US" altLang="ja-JP" dirty="0">
                <a:cs typeface="Arial" charset="0"/>
              </a:rPr>
              <a:t>Reducing environmental impact;</a:t>
            </a:r>
          </a:p>
          <a:p>
            <a:pPr lvl="1" indent="-188902">
              <a:buFontTx/>
              <a:buAutoNum type="arabicPeriod"/>
            </a:pPr>
            <a:r>
              <a:rPr lang="en-US" altLang="ja-JP" dirty="0">
                <a:cs typeface="Arial" charset="0"/>
              </a:rPr>
              <a:t>Assuring safer operating conditions; and</a:t>
            </a:r>
          </a:p>
          <a:p>
            <a:pPr lvl="1" indent="-188902">
              <a:buFontTx/>
              <a:buAutoNum type="arabicPeriod"/>
            </a:pPr>
            <a:r>
              <a:rPr lang="en-US" altLang="ja-JP" dirty="0">
                <a:cs typeface="Arial" charset="0"/>
              </a:rPr>
              <a:t>Supplying powerful, superior-quality equipment.</a:t>
            </a:r>
          </a:p>
          <a:p>
            <a:endParaRPr lang="en-US" altLang="ja-JP" dirty="0">
              <a:cs typeface="Arial" charset="0"/>
            </a:endParaRP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FE40D8D2-3520-4183-A048-A1A6FE4B07ED}" type="slidenum">
              <a:rPr lang="en-US" smtClean="0"/>
              <a:pPr/>
              <a:t>11</a:t>
            </a:fld>
            <a:endParaRPr lang="en-US"/>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FE40D8D2-3520-4183-A048-A1A6FE4B07ED}" type="slidenum">
              <a:rPr lang="en-US" smtClean="0"/>
              <a:pPr/>
              <a:t>12</a:t>
            </a:fld>
            <a:endParaRPr lang="en-US"/>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FE40D8D2-3520-4183-A048-A1A6FE4B07ED}" type="slidenum">
              <a:rPr lang="en-US" smtClean="0"/>
              <a:pPr/>
              <a:t>13</a:t>
            </a:fld>
            <a:endParaRPr lang="en-US"/>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5714" name="Rectangle 7"/>
          <p:cNvSpPr>
            <a:spLocks noGrp="1" noChangeArrowheads="1"/>
          </p:cNvSpPr>
          <p:nvPr>
            <p:ph type="sldNum" sz="quarter" idx="5"/>
          </p:nvPr>
        </p:nvSpPr>
        <p:spPr>
          <a:noFill/>
        </p:spPr>
        <p:txBody>
          <a:bodyPr/>
          <a:lstStyle/>
          <a:p>
            <a:fld id="{DEB9163E-F81C-476D-8FE5-06D5BD93B87C}" type="slidenum">
              <a:rPr lang="en-US" altLang="ja-JP"/>
              <a:pPr/>
              <a:t>14</a:t>
            </a:fld>
            <a:endParaRPr lang="en-US" altLang="ja-JP"/>
          </a:p>
        </p:txBody>
      </p:sp>
      <p:sp>
        <p:nvSpPr>
          <p:cNvPr id="115715" name="Rectangle 4"/>
          <p:cNvSpPr>
            <a:spLocks noGrp="1" noRot="1" noChangeAspect="1" noChangeArrowheads="1" noTextEdit="1"/>
          </p:cNvSpPr>
          <p:nvPr>
            <p:ph type="sldImg"/>
          </p:nvPr>
        </p:nvSpPr>
        <p:spPr>
          <a:ln/>
        </p:spPr>
      </p:sp>
      <p:sp>
        <p:nvSpPr>
          <p:cNvPr id="115716" name="Rectangle 5"/>
          <p:cNvSpPr>
            <a:spLocks noGrp="1" noChangeArrowheads="1"/>
          </p:cNvSpPr>
          <p:nvPr>
            <p:ph type="body" idx="1"/>
          </p:nvPr>
        </p:nvSpPr>
        <p:spPr>
          <a:noFill/>
          <a:ln/>
        </p:spPr>
        <p:txBody>
          <a:bodyPr/>
          <a:lstStyle/>
          <a:p>
            <a:r>
              <a:rPr lang="en-US" altLang="ja-JP" smtClean="0"/>
              <a:t>Komatsu promotes the research and development of original leading-edge technologies for commercialization in many areas. One such effort includes the development of an autonomous haulage system (AHS). In this system, unmanned dump trucks equipped with state-of-the-art technologies, such as a high-precision GPS and millimeter wave radar, automatically approach loading equipment and travel along the assigned road to the designated point for dumping. AHS has a high-tech manual interaction function to maintain the safety of vehicles in the AHS area, including other manual vehicles, such as motor graders and water trucks. If a person comes close to the truck, it detects the person with an on-board radar and stops automatically. We believe that this kind of advanced technology will contribute to the improvement of our customer's operations, especially in terms of safety and productivity.</a:t>
            </a:r>
            <a:endParaRPr lang="ja-JP" altLang="en-US" smtClean="0"/>
          </a:p>
          <a:p>
            <a:r>
              <a:rPr lang="en-US" altLang="ja-JP" smtClean="0"/>
              <a:t> </a:t>
            </a:r>
            <a:endParaRPr lang="ja-JP" altLang="en-US" smtClean="0"/>
          </a:p>
          <a:p>
            <a:r>
              <a:rPr lang="en-US" altLang="ja-JP" smtClean="0"/>
              <a:t>This AHS is just one example of our advanced technologies that we will continue to conduct research and development on into the future.</a:t>
            </a:r>
            <a:endParaRPr lang="ja-JP" altLang="en-US" smtClean="0"/>
          </a:p>
          <a:p>
            <a:r>
              <a:rPr lang="en-US" altLang="ja-JP" smtClean="0"/>
              <a:t> </a:t>
            </a:r>
            <a:endParaRPr lang="ja-JP" altLang="en-US" smtClean="0"/>
          </a:p>
          <a:p>
            <a:pPr eaLnBrk="1" hangingPunct="1"/>
            <a:endParaRPr lang="en-US" altLang="ja-JP" smtClean="0">
              <a:cs typeface="Arial" charset="0"/>
            </a:endParaRPr>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0FADC7D9-E063-4291-8A1F-165E5798420B}" type="slidenum">
              <a:rPr lang="en-US"/>
              <a:pPr/>
              <a:t>15</a:t>
            </a:fld>
            <a:endParaRPr lang="en-US"/>
          </a:p>
        </p:txBody>
      </p:sp>
      <p:sp>
        <p:nvSpPr>
          <p:cNvPr id="318466" name="Rectangle 2"/>
          <p:cNvSpPr>
            <a:spLocks noGrp="1" noRot="1" noChangeAspect="1" noChangeArrowheads="1" noTextEdit="1"/>
          </p:cNvSpPr>
          <p:nvPr>
            <p:ph type="sldImg"/>
          </p:nvPr>
        </p:nvSpPr>
        <p:spPr>
          <a:ln/>
        </p:spPr>
      </p:sp>
      <p:sp>
        <p:nvSpPr>
          <p:cNvPr id="318467" name="Rectangle 3"/>
          <p:cNvSpPr>
            <a:spLocks noGrp="1" noChangeArrowheads="1"/>
          </p:cNvSpPr>
          <p:nvPr>
            <p:ph type="body" idx="1"/>
          </p:nvPr>
        </p:nvSpPr>
        <p:spPr/>
        <p:txBody>
          <a:bodyPr/>
          <a:lstStyle/>
          <a:p>
            <a:r>
              <a:rPr lang="en-US" altLang="zh-CN" b="1" u="sng"/>
              <a:t>No. of Clicks</a:t>
            </a:r>
            <a:r>
              <a:rPr lang="en-US" altLang="zh-CN" b="1"/>
              <a:t>:       2   -   (1) Major Benefits/Increased Productivity   (2) Next Slide</a:t>
            </a:r>
          </a:p>
          <a:p>
            <a:endParaRPr lang="en-US" altLang="zh-CN" b="1"/>
          </a:p>
          <a:p>
            <a:r>
              <a:rPr lang="en-US" altLang="zh-CN" b="1" u="sng"/>
              <a:t>Presentation Notes</a:t>
            </a:r>
            <a:r>
              <a:rPr lang="en-US" altLang="zh-CN" b="1"/>
              <a:t>:</a:t>
            </a:r>
          </a:p>
          <a:p>
            <a:endParaRPr lang="en-US" altLang="zh-CN" b="1"/>
          </a:p>
          <a:p>
            <a:r>
              <a:rPr lang="en-US" altLang="zh-CN" b="1"/>
              <a:t>  -  transmission line provides additional power to take advantage of the extra wheelmotor capacity that current diesel engines cannot fulfill.</a:t>
            </a:r>
          </a:p>
          <a:p>
            <a:endParaRPr lang="en-US" altLang="zh-CN" b="1"/>
          </a:p>
          <a:p>
            <a:r>
              <a:rPr lang="en-US" altLang="zh-CN" b="1"/>
              <a:t>  -  maximum 860E wheelmotor capacity ~5200 hp</a:t>
            </a:r>
          </a:p>
          <a:p>
            <a:endParaRPr lang="en-US" altLang="zh-CN" b="1"/>
          </a:p>
          <a:p>
            <a:r>
              <a:rPr lang="en-US" altLang="zh-CN" b="1"/>
              <a:t>  -  Electric wheelmotor design practices address both propel and retarding applications.</a:t>
            </a:r>
          </a:p>
          <a:p>
            <a:endParaRPr lang="en-US" altLang="zh-CN" b="1"/>
          </a:p>
          <a:p>
            <a:r>
              <a:rPr lang="en-US" altLang="zh-CN" b="1"/>
              <a:t>      *  retarding application results in greater power quantities than propel.</a:t>
            </a:r>
          </a:p>
          <a:p>
            <a:endParaRPr lang="en-US" altLang="zh-CN" b="1"/>
          </a:p>
          <a:p>
            <a:r>
              <a:rPr lang="en-US" altLang="zh-CN" b="1"/>
              <a:t>      *  thus extra hp capacity not typically used in propulsion.</a:t>
            </a:r>
          </a:p>
          <a:p>
            <a:endParaRPr lang="en-US" altLang="zh-CN" b="1"/>
          </a:p>
          <a:p>
            <a:r>
              <a:rPr lang="en-US" altLang="zh-CN" b="1"/>
              <a:t> </a:t>
            </a:r>
            <a:r>
              <a:rPr lang="en-US" altLang="zh-CN" b="1">
                <a:solidFill>
                  <a:srgbClr val="FF0000"/>
                </a:solidFill>
              </a:rPr>
              <a:t>#1</a:t>
            </a:r>
            <a:r>
              <a:rPr lang="en-US" altLang="zh-CN" b="1"/>
              <a:t> – Let’s see how this extra wheelmotor power is used.</a:t>
            </a:r>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6"/>
            <a:ext cx="7772400" cy="1470025"/>
          </a:xfrm>
          <a:prstGeom prst="rect">
            <a:avLst/>
          </a:prstGeom>
        </p:spPr>
        <p:txBody>
          <a:bodyPr/>
          <a:lstStyle/>
          <a:p>
            <a:r>
              <a:rPr lang="en-US" smtClean="0"/>
              <a:t>Click to edit Master title style</a:t>
            </a:r>
            <a:endParaRPr lang="en-IN"/>
          </a:p>
        </p:txBody>
      </p:sp>
      <p:sp>
        <p:nvSpPr>
          <p:cNvPr id="3" name="Subtitle 2"/>
          <p:cNvSpPr>
            <a:spLocks noGrp="1"/>
          </p:cNvSpPr>
          <p:nvPr>
            <p:ph type="subTitle" idx="1"/>
          </p:nvPr>
        </p:nvSpPr>
        <p:spPr>
          <a:xfrm>
            <a:off x="1371601" y="3886200"/>
            <a:ext cx="6400800" cy="1752600"/>
          </a:xfrm>
          <a:prstGeom prst="rect">
            <a:avLst/>
          </a:prstGeom>
        </p:spPr>
        <p:txBody>
          <a:bodyPr/>
          <a:lstStyle>
            <a:lvl1pPr marL="0" indent="0" algn="ctr">
              <a:buNone/>
              <a:defRPr/>
            </a:lvl1pPr>
            <a:lvl2pPr marL="457152" indent="0" algn="ctr">
              <a:buNone/>
              <a:defRPr/>
            </a:lvl2pPr>
            <a:lvl3pPr marL="914303" indent="0" algn="ctr">
              <a:buNone/>
              <a:defRPr/>
            </a:lvl3pPr>
            <a:lvl4pPr marL="1371455" indent="0" algn="ctr">
              <a:buNone/>
              <a:defRPr/>
            </a:lvl4pPr>
            <a:lvl5pPr marL="1828606" indent="0" algn="ctr">
              <a:buNone/>
              <a:defRPr/>
            </a:lvl5pPr>
            <a:lvl6pPr marL="2285758" indent="0" algn="ctr">
              <a:buNone/>
              <a:defRPr/>
            </a:lvl6pPr>
            <a:lvl7pPr marL="2742909" indent="0" algn="ctr">
              <a:buNone/>
              <a:defRPr/>
            </a:lvl7pPr>
            <a:lvl8pPr marL="3200061" indent="0" algn="ctr">
              <a:buNone/>
              <a:defRPr/>
            </a:lvl8pPr>
            <a:lvl9pPr marL="3657212" indent="0" algn="ctr">
              <a:buNone/>
              <a:defRPr/>
            </a:lvl9pPr>
          </a:lstStyle>
          <a:p>
            <a:r>
              <a:rPr lang="en-US" smtClean="0"/>
              <a:t>Click to edit Master subtitle style</a:t>
            </a:r>
            <a:endParaRPr lang="en-IN"/>
          </a:p>
        </p:txBody>
      </p:sp>
    </p:spTree>
    <p:extLst>
      <p:ext uri="{BB962C8B-B14F-4D97-AF65-F5344CB8AC3E}">
        <p14:creationId xmlns:p14="http://schemas.microsoft.com/office/powerpoint/2010/main" val="3771674777"/>
      </p:ext>
    </p:extLst>
  </p:cSld>
  <p:clrMapOvr>
    <a:masterClrMapping/>
  </p:clrMapOvr>
  <p:transition spd="slow">
    <p:wipe/>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a:xfrm>
            <a:off x="457200" y="490538"/>
            <a:ext cx="8377238" cy="601662"/>
          </a:xfrm>
          <a:prstGeom prst="rect">
            <a:avLst/>
          </a:prstGeom>
        </p:spPr>
        <p:txBody>
          <a:bodyPr/>
          <a:lstStyle/>
          <a:p>
            <a:r>
              <a:rPr lang="en-US" smtClean="0"/>
              <a:t>Click to edit Master title style</a:t>
            </a:r>
            <a:endParaRPr lang="en-IN"/>
          </a:p>
        </p:txBody>
      </p:sp>
      <p:sp>
        <p:nvSpPr>
          <p:cNvPr id="3" name="Vertical Text Placeholder 2"/>
          <p:cNvSpPr>
            <a:spLocks noGrp="1"/>
          </p:cNvSpPr>
          <p:nvPr>
            <p:ph type="body" orient="vert" idx="1"/>
          </p:nvPr>
        </p:nvSpPr>
        <p:spPr>
          <a:xfrm>
            <a:off x="457200" y="1098550"/>
            <a:ext cx="8377238" cy="5181600"/>
          </a:xfrm>
          <a:prstGeom prst="rect">
            <a:avLst/>
          </a:prstGeo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a:p>
        </p:txBody>
      </p:sp>
      <p:sp>
        <p:nvSpPr>
          <p:cNvPr id="4" name="Rectangle 1"/>
          <p:cNvSpPr>
            <a:spLocks noGrp="1" noChangeArrowheads="1"/>
          </p:cNvSpPr>
          <p:nvPr>
            <p:ph type="sldNum" idx="10"/>
          </p:nvPr>
        </p:nvSpPr>
        <p:spPr>
          <a:xfrm>
            <a:off x="6781800" y="6305550"/>
            <a:ext cx="2128838" cy="471488"/>
          </a:xfrm>
          <a:prstGeom prst="rect">
            <a:avLst/>
          </a:prstGeom>
          <a:ln/>
        </p:spPr>
        <p:txBody>
          <a:bodyPr/>
          <a:lstStyle>
            <a:lvl1pPr>
              <a:defRPr/>
            </a:lvl1pPr>
          </a:lstStyle>
          <a:p>
            <a:pPr>
              <a:defRPr/>
            </a:pPr>
            <a:r>
              <a:rPr lang="en-US" dirty="0">
                <a:solidFill>
                  <a:srgbClr val="000000"/>
                </a:solidFill>
              </a:rPr>
              <a:t>Page </a:t>
            </a:r>
            <a:fld id="{3B4CC69F-FFD8-42EA-B08E-56C50A41139F}" type="slidenum">
              <a:rPr lang="en-US">
                <a:solidFill>
                  <a:srgbClr val="000000"/>
                </a:solidFill>
              </a:rPr>
              <a:pPr>
                <a:defRPr/>
              </a:pPr>
              <a:t>‹#›</a:t>
            </a:fld>
            <a:endParaRPr lang="en-US" dirty="0">
              <a:solidFill>
                <a:srgbClr val="000000"/>
              </a:solidFill>
            </a:endParaRPr>
          </a:p>
        </p:txBody>
      </p:sp>
    </p:spTree>
    <p:extLst>
      <p:ext uri="{BB962C8B-B14F-4D97-AF65-F5344CB8AC3E}">
        <p14:creationId xmlns:p14="http://schemas.microsoft.com/office/powerpoint/2010/main" val="2886273028"/>
      </p:ext>
    </p:extLst>
  </p:cSld>
  <p:clrMapOvr>
    <a:masterClrMapping/>
  </p:clrMapOvr>
  <p:transition spd="slow">
    <p:wip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740525" y="490538"/>
            <a:ext cx="2093913" cy="5789612"/>
          </a:xfrm>
          <a:prstGeom prst="rect">
            <a:avLst/>
          </a:prstGeom>
        </p:spPr>
        <p:txBody>
          <a:bodyPr vert="eaVert"/>
          <a:lstStyle/>
          <a:p>
            <a:r>
              <a:rPr lang="en-US" smtClean="0"/>
              <a:t>Click to edit Master title style</a:t>
            </a:r>
            <a:endParaRPr lang="en-IN"/>
          </a:p>
        </p:txBody>
      </p:sp>
      <p:sp>
        <p:nvSpPr>
          <p:cNvPr id="3" name="Vertical Text Placeholder 2"/>
          <p:cNvSpPr>
            <a:spLocks noGrp="1"/>
          </p:cNvSpPr>
          <p:nvPr>
            <p:ph type="body" orient="vert" idx="1"/>
          </p:nvPr>
        </p:nvSpPr>
        <p:spPr>
          <a:xfrm>
            <a:off x="457200" y="490538"/>
            <a:ext cx="6130925" cy="5789612"/>
          </a:xfrm>
          <a:prstGeom prst="rect">
            <a:avLst/>
          </a:prstGeo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a:p>
        </p:txBody>
      </p:sp>
      <p:sp>
        <p:nvSpPr>
          <p:cNvPr id="4" name="Rectangle 1"/>
          <p:cNvSpPr>
            <a:spLocks noGrp="1" noChangeArrowheads="1"/>
          </p:cNvSpPr>
          <p:nvPr>
            <p:ph type="sldNum" idx="10"/>
          </p:nvPr>
        </p:nvSpPr>
        <p:spPr>
          <a:xfrm>
            <a:off x="6781800" y="6305550"/>
            <a:ext cx="2128838" cy="471488"/>
          </a:xfrm>
          <a:prstGeom prst="rect">
            <a:avLst/>
          </a:prstGeom>
          <a:ln/>
        </p:spPr>
        <p:txBody>
          <a:bodyPr/>
          <a:lstStyle>
            <a:lvl1pPr>
              <a:defRPr/>
            </a:lvl1pPr>
          </a:lstStyle>
          <a:p>
            <a:pPr>
              <a:defRPr/>
            </a:pPr>
            <a:r>
              <a:rPr lang="en-US" dirty="0">
                <a:solidFill>
                  <a:srgbClr val="000000"/>
                </a:solidFill>
              </a:rPr>
              <a:t>Page </a:t>
            </a:r>
            <a:fld id="{794B7D4C-D6E4-41A8-A89A-8C2E03B11198}" type="slidenum">
              <a:rPr lang="en-US">
                <a:solidFill>
                  <a:srgbClr val="000000"/>
                </a:solidFill>
              </a:rPr>
              <a:pPr>
                <a:defRPr/>
              </a:pPr>
              <a:t>‹#›</a:t>
            </a:fld>
            <a:endParaRPr lang="en-US" dirty="0">
              <a:solidFill>
                <a:srgbClr val="000000"/>
              </a:solidFill>
            </a:endParaRPr>
          </a:p>
        </p:txBody>
      </p:sp>
    </p:spTree>
    <p:extLst>
      <p:ext uri="{BB962C8B-B14F-4D97-AF65-F5344CB8AC3E}">
        <p14:creationId xmlns:p14="http://schemas.microsoft.com/office/powerpoint/2010/main" val="922455980"/>
      </p:ext>
    </p:extLst>
  </p:cSld>
  <p:clrMapOvr>
    <a:masterClrMapping/>
  </p:clrMapOvr>
  <p:transition spd="slow">
    <p:wip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type="blank">
  <p:cSld name="1_Blank">
    <p:spTree>
      <p:nvGrpSpPr>
        <p:cNvPr id="1" name=""/>
        <p:cNvGrpSpPr/>
        <p:nvPr/>
      </p:nvGrpSpPr>
      <p:grpSpPr>
        <a:xfrm>
          <a:off x="0" y="0"/>
          <a:ext cx="0" cy="0"/>
          <a:chOff x="0" y="0"/>
          <a:chExt cx="0" cy="0"/>
        </a:xfrm>
      </p:grpSpPr>
      <p:sp>
        <p:nvSpPr>
          <p:cNvPr id="2" name="Rectangle 6"/>
          <p:cNvSpPr>
            <a:spLocks noGrp="1" noChangeArrowheads="1"/>
          </p:cNvSpPr>
          <p:nvPr>
            <p:ph type="sldNum" sz="quarter" idx="10"/>
          </p:nvPr>
        </p:nvSpPr>
        <p:spPr>
          <a:xfrm>
            <a:off x="6781800" y="6305550"/>
            <a:ext cx="2133600" cy="476250"/>
          </a:xfrm>
          <a:prstGeom prst="rect">
            <a:avLst/>
          </a:prstGeom>
          <a:ln/>
        </p:spPr>
        <p:txBody>
          <a:bodyPr/>
          <a:lstStyle>
            <a:lvl1pPr>
              <a:defRPr/>
            </a:lvl1pPr>
          </a:lstStyle>
          <a:p>
            <a:pPr>
              <a:defRPr/>
            </a:pPr>
            <a:r>
              <a:rPr lang="en-US" dirty="0"/>
              <a:t>Page </a:t>
            </a:r>
            <a:fld id="{193AA450-93B1-4DA6-9A40-3EE20371E9F8}" type="slidenum">
              <a:rPr lang="en-US"/>
              <a:pPr>
                <a:defRPr/>
              </a:pPr>
              <a:t>‹#›</a:t>
            </a:fld>
            <a:endParaRPr lang="en-US" dirty="0"/>
          </a:p>
        </p:txBody>
      </p:sp>
      <p:sp>
        <p:nvSpPr>
          <p:cNvPr id="3" name="Rectangle 11"/>
          <p:cNvSpPr>
            <a:spLocks noGrp="1" noChangeArrowheads="1"/>
          </p:cNvSpPr>
          <p:nvPr>
            <p:ph type="dt" sz="half" idx="11"/>
          </p:nvPr>
        </p:nvSpPr>
        <p:spPr>
          <a:xfrm>
            <a:off x="381000" y="6305550"/>
            <a:ext cx="2133600" cy="476250"/>
          </a:xfrm>
          <a:prstGeom prst="rect">
            <a:avLst/>
          </a:prstGeom>
          <a:ln/>
        </p:spPr>
        <p:txBody>
          <a:bodyPr/>
          <a:lstStyle>
            <a:lvl1pPr>
              <a:defRPr/>
            </a:lvl1pPr>
          </a:lstStyle>
          <a:p>
            <a:pPr>
              <a:defRPr/>
            </a:pPr>
            <a:endParaRPr lang="en-US" dirty="0"/>
          </a:p>
        </p:txBody>
      </p:sp>
      <p:sp>
        <p:nvSpPr>
          <p:cNvPr id="4" name="Rectangle 12"/>
          <p:cNvSpPr>
            <a:spLocks noGrp="1" noChangeArrowheads="1"/>
          </p:cNvSpPr>
          <p:nvPr>
            <p:ph type="ftr" sz="quarter" idx="12"/>
          </p:nvPr>
        </p:nvSpPr>
        <p:spPr>
          <a:xfrm>
            <a:off x="3124200" y="6305550"/>
            <a:ext cx="2895600" cy="476250"/>
          </a:xfrm>
          <a:prstGeom prst="rect">
            <a:avLst/>
          </a:prstGeom>
          <a:ln/>
        </p:spPr>
        <p:txBody>
          <a:bodyPr/>
          <a:lstStyle>
            <a:lvl1pPr>
              <a:defRPr/>
            </a:lvl1pPr>
          </a:lstStyle>
          <a:p>
            <a:pPr>
              <a:defRPr/>
            </a:pPr>
            <a:endParaRPr lang="en-US" dirty="0"/>
          </a:p>
        </p:txBody>
      </p:sp>
    </p:spTree>
    <p:extLst>
      <p:ext uri="{BB962C8B-B14F-4D97-AF65-F5344CB8AC3E}">
        <p14:creationId xmlns:p14="http://schemas.microsoft.com/office/powerpoint/2010/main" val="3716513272"/>
      </p:ext>
    </p:extLst>
  </p:cSld>
  <p:clrMapOvr>
    <a:masterClrMapping/>
  </p:clrMapOvr>
  <p:transition>
    <p:wipe dir="r"/>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p>
            <a:r>
              <a:rPr lang="en-US" smtClean="0"/>
              <a:t>Click to edit Master title style</a:t>
            </a:r>
            <a:endParaRPr lang="en-US"/>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A809FCCE-42C9-4ED9-853A-9F7345F7811E}" type="datetime1">
              <a:rPr lang="en-IN" smtClean="0"/>
              <a:t>11-11-2013</a:t>
            </a:fld>
            <a:endParaRPr lang="en-US" dirty="0"/>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dirty="0"/>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4E20E1A8-6F79-431B-8436-946E30F7D7D7}" type="slidenum">
              <a:rPr lang="en-US" smtClean="0"/>
              <a:t>‹#›</a:t>
            </a:fld>
            <a:endParaRPr lang="en-US" dirty="0"/>
          </a:p>
        </p:txBody>
      </p:sp>
    </p:spTree>
    <p:extLst>
      <p:ext uri="{BB962C8B-B14F-4D97-AF65-F5344CB8AC3E}">
        <p14:creationId xmlns:p14="http://schemas.microsoft.com/office/powerpoint/2010/main" val="2839029376"/>
      </p:ext>
    </p:extLst>
  </p:cSld>
  <p:clrMapOvr>
    <a:masterClrMapping/>
  </p:clrMapOvr>
  <p:transition spd="slow">
    <p:wip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490538"/>
            <a:ext cx="8377238" cy="601662"/>
          </a:xfrm>
          <a:prstGeom prst="rect">
            <a:avLst/>
          </a:prstGeom>
        </p:spPr>
        <p:txBody>
          <a:bodyPr/>
          <a:lstStyle/>
          <a:p>
            <a:r>
              <a:rPr lang="en-US" dirty="0" smtClean="0"/>
              <a:t>Click to edit Master title style</a:t>
            </a:r>
            <a:endParaRPr lang="en-IN" dirty="0"/>
          </a:p>
        </p:txBody>
      </p:sp>
      <p:sp>
        <p:nvSpPr>
          <p:cNvPr id="3" name="Content Placeholder 2"/>
          <p:cNvSpPr>
            <a:spLocks noGrp="1"/>
          </p:cNvSpPr>
          <p:nvPr>
            <p:ph idx="1"/>
          </p:nvPr>
        </p:nvSpPr>
        <p:spPr>
          <a:xfrm>
            <a:off x="457200" y="1098550"/>
            <a:ext cx="8377238" cy="5181600"/>
          </a:xfrm>
          <a:prstGeom prst="rect">
            <a:avLst/>
          </a:prstGeo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IN" dirty="0"/>
          </a:p>
        </p:txBody>
      </p:sp>
      <p:sp>
        <p:nvSpPr>
          <p:cNvPr id="4" name="Rectangle 1"/>
          <p:cNvSpPr>
            <a:spLocks noGrp="1" noChangeArrowheads="1"/>
          </p:cNvSpPr>
          <p:nvPr>
            <p:ph type="sldNum" idx="10"/>
          </p:nvPr>
        </p:nvSpPr>
        <p:spPr>
          <a:xfrm>
            <a:off x="8234362" y="6538912"/>
            <a:ext cx="2128838" cy="471488"/>
          </a:xfrm>
          <a:prstGeom prst="rect">
            <a:avLst/>
          </a:prstGeom>
          <a:ln/>
        </p:spPr>
        <p:txBody>
          <a:bodyPr/>
          <a:lstStyle>
            <a:lvl1pPr>
              <a:defRPr>
                <a:solidFill>
                  <a:schemeClr val="bg1"/>
                </a:solidFill>
              </a:defRPr>
            </a:lvl1pPr>
          </a:lstStyle>
          <a:p>
            <a:pPr>
              <a:defRPr/>
            </a:pPr>
            <a:r>
              <a:rPr lang="en-US" smtClean="0">
                <a:solidFill>
                  <a:srgbClr val="FFFFFF"/>
                </a:solidFill>
              </a:rPr>
              <a:t>Page </a:t>
            </a:r>
            <a:fld id="{8F8887F5-5AE4-4456-84C1-7E804DD00F37}" type="slidenum">
              <a:rPr lang="en-US" smtClean="0">
                <a:solidFill>
                  <a:srgbClr val="FFFFFF"/>
                </a:solidFill>
              </a:rPr>
              <a:pPr>
                <a:defRPr/>
              </a:pPr>
              <a:t>‹#›</a:t>
            </a:fld>
            <a:endParaRPr lang="en-US" dirty="0">
              <a:solidFill>
                <a:srgbClr val="FFFFFF"/>
              </a:solidFill>
            </a:endParaRPr>
          </a:p>
        </p:txBody>
      </p:sp>
    </p:spTree>
    <p:extLst>
      <p:ext uri="{BB962C8B-B14F-4D97-AF65-F5344CB8AC3E}">
        <p14:creationId xmlns:p14="http://schemas.microsoft.com/office/powerpoint/2010/main" val="3040414018"/>
      </p:ext>
    </p:extLst>
  </p:cSld>
  <p:clrMapOvr>
    <a:masterClrMapping/>
  </p:clrMapOvr>
  <p:transition spd="slow">
    <p:wip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a:prstGeom prst="rect">
            <a:avLst/>
          </a:prstGeom>
        </p:spPr>
        <p:txBody>
          <a:bodyPr anchor="t"/>
          <a:lstStyle>
            <a:lvl1pPr algn="l">
              <a:defRPr sz="4000" b="1" cap="all"/>
            </a:lvl1pPr>
          </a:lstStyle>
          <a:p>
            <a:r>
              <a:rPr lang="en-US" smtClean="0"/>
              <a:t>Click to edit Master title style</a:t>
            </a:r>
            <a:endParaRPr lang="en-IN"/>
          </a:p>
        </p:txBody>
      </p:sp>
      <p:sp>
        <p:nvSpPr>
          <p:cNvPr id="3" name="Text Placeholder 2"/>
          <p:cNvSpPr>
            <a:spLocks noGrp="1"/>
          </p:cNvSpPr>
          <p:nvPr>
            <p:ph type="body" idx="1"/>
          </p:nvPr>
        </p:nvSpPr>
        <p:spPr>
          <a:xfrm>
            <a:off x="722313" y="2906713"/>
            <a:ext cx="7772400" cy="1500187"/>
          </a:xfrm>
          <a:prstGeom prst="rect">
            <a:avLst/>
          </a:prstGeom>
        </p:spPr>
        <p:txBody>
          <a:bodyPr anchor="b"/>
          <a:lstStyle>
            <a:lvl1pPr marL="0" indent="0">
              <a:buNone/>
              <a:defRPr sz="2000"/>
            </a:lvl1pPr>
            <a:lvl2pPr marL="457152" indent="0">
              <a:buNone/>
              <a:defRPr sz="1800"/>
            </a:lvl2pPr>
            <a:lvl3pPr marL="914303" indent="0">
              <a:buNone/>
              <a:defRPr sz="1600"/>
            </a:lvl3pPr>
            <a:lvl4pPr marL="1371455" indent="0">
              <a:buNone/>
              <a:defRPr sz="1400"/>
            </a:lvl4pPr>
            <a:lvl5pPr marL="1828606" indent="0">
              <a:buNone/>
              <a:defRPr sz="1400"/>
            </a:lvl5pPr>
            <a:lvl6pPr marL="2285758" indent="0">
              <a:buNone/>
              <a:defRPr sz="1400"/>
            </a:lvl6pPr>
            <a:lvl7pPr marL="2742909" indent="0">
              <a:buNone/>
              <a:defRPr sz="1400"/>
            </a:lvl7pPr>
            <a:lvl8pPr marL="3200061" indent="0">
              <a:buNone/>
              <a:defRPr sz="1400"/>
            </a:lvl8pPr>
            <a:lvl9pPr marL="3657212" indent="0">
              <a:buNone/>
              <a:defRPr sz="1400"/>
            </a:lvl9pPr>
          </a:lstStyle>
          <a:p>
            <a:pPr lvl="0"/>
            <a:r>
              <a:rPr lang="en-US" smtClean="0"/>
              <a:t>Click to edit Master text styles</a:t>
            </a:r>
          </a:p>
        </p:txBody>
      </p:sp>
      <p:sp>
        <p:nvSpPr>
          <p:cNvPr id="4" name="Rectangle 1"/>
          <p:cNvSpPr>
            <a:spLocks noGrp="1" noChangeArrowheads="1"/>
          </p:cNvSpPr>
          <p:nvPr>
            <p:ph type="sldNum" idx="10"/>
          </p:nvPr>
        </p:nvSpPr>
        <p:spPr>
          <a:xfrm>
            <a:off x="6781800" y="6305550"/>
            <a:ext cx="2128838" cy="471488"/>
          </a:xfrm>
          <a:prstGeom prst="rect">
            <a:avLst/>
          </a:prstGeom>
          <a:ln/>
        </p:spPr>
        <p:txBody>
          <a:bodyPr/>
          <a:lstStyle>
            <a:lvl1pPr>
              <a:defRPr/>
            </a:lvl1pPr>
          </a:lstStyle>
          <a:p>
            <a:pPr>
              <a:defRPr/>
            </a:pPr>
            <a:r>
              <a:rPr lang="en-US" dirty="0">
                <a:solidFill>
                  <a:srgbClr val="000000"/>
                </a:solidFill>
              </a:rPr>
              <a:t>Page </a:t>
            </a:r>
            <a:fld id="{3B0FAEEF-0BAA-49AC-A889-CDBCAF8C476B}" type="slidenum">
              <a:rPr lang="en-US">
                <a:solidFill>
                  <a:srgbClr val="000000"/>
                </a:solidFill>
              </a:rPr>
              <a:pPr>
                <a:defRPr/>
              </a:pPr>
              <a:t>‹#›</a:t>
            </a:fld>
            <a:endParaRPr lang="en-US" dirty="0">
              <a:solidFill>
                <a:srgbClr val="000000"/>
              </a:solidFill>
            </a:endParaRPr>
          </a:p>
        </p:txBody>
      </p:sp>
    </p:spTree>
    <p:extLst>
      <p:ext uri="{BB962C8B-B14F-4D97-AF65-F5344CB8AC3E}">
        <p14:creationId xmlns:p14="http://schemas.microsoft.com/office/powerpoint/2010/main" val="3635388635"/>
      </p:ext>
    </p:extLst>
  </p:cSld>
  <p:clrMapOvr>
    <a:masterClrMapping/>
  </p:clrMapOvr>
  <p:transition spd="slow">
    <p:wipe/>
  </p:transition>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490538"/>
            <a:ext cx="8377238" cy="601662"/>
          </a:xfrm>
          <a:prstGeom prst="rect">
            <a:avLst/>
          </a:prstGeom>
        </p:spPr>
        <p:txBody>
          <a:bodyPr/>
          <a:lstStyle/>
          <a:p>
            <a:r>
              <a:rPr lang="en-US" smtClean="0"/>
              <a:t>Click to edit Master title style</a:t>
            </a:r>
            <a:endParaRPr lang="en-IN"/>
          </a:p>
        </p:txBody>
      </p:sp>
      <p:sp>
        <p:nvSpPr>
          <p:cNvPr id="3" name="Content Placeholder 2"/>
          <p:cNvSpPr>
            <a:spLocks noGrp="1"/>
          </p:cNvSpPr>
          <p:nvPr>
            <p:ph sz="half" idx="1"/>
          </p:nvPr>
        </p:nvSpPr>
        <p:spPr>
          <a:xfrm>
            <a:off x="457201" y="1098550"/>
            <a:ext cx="4111625" cy="5181600"/>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a:p>
        </p:txBody>
      </p:sp>
      <p:sp>
        <p:nvSpPr>
          <p:cNvPr id="4" name="Content Placeholder 3"/>
          <p:cNvSpPr>
            <a:spLocks noGrp="1"/>
          </p:cNvSpPr>
          <p:nvPr>
            <p:ph sz="half" idx="2"/>
          </p:nvPr>
        </p:nvSpPr>
        <p:spPr>
          <a:xfrm>
            <a:off x="4721225" y="1098550"/>
            <a:ext cx="4113213" cy="5181600"/>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a:p>
        </p:txBody>
      </p:sp>
      <p:sp>
        <p:nvSpPr>
          <p:cNvPr id="5" name="Rectangle 1"/>
          <p:cNvSpPr>
            <a:spLocks noGrp="1" noChangeArrowheads="1"/>
          </p:cNvSpPr>
          <p:nvPr>
            <p:ph type="sldNum" idx="10"/>
          </p:nvPr>
        </p:nvSpPr>
        <p:spPr>
          <a:xfrm>
            <a:off x="6781800" y="6305550"/>
            <a:ext cx="2128838" cy="471488"/>
          </a:xfrm>
          <a:prstGeom prst="rect">
            <a:avLst/>
          </a:prstGeom>
          <a:ln/>
        </p:spPr>
        <p:txBody>
          <a:bodyPr/>
          <a:lstStyle>
            <a:lvl1pPr>
              <a:defRPr/>
            </a:lvl1pPr>
          </a:lstStyle>
          <a:p>
            <a:pPr>
              <a:defRPr/>
            </a:pPr>
            <a:r>
              <a:rPr lang="en-US" dirty="0">
                <a:solidFill>
                  <a:srgbClr val="000000"/>
                </a:solidFill>
              </a:rPr>
              <a:t>Page </a:t>
            </a:r>
            <a:fld id="{C241E3F8-E4AC-4297-87A8-001D54ECD974}" type="slidenum">
              <a:rPr lang="en-US">
                <a:solidFill>
                  <a:srgbClr val="000000"/>
                </a:solidFill>
              </a:rPr>
              <a:pPr>
                <a:defRPr/>
              </a:pPr>
              <a:t>‹#›</a:t>
            </a:fld>
            <a:endParaRPr lang="en-US" dirty="0">
              <a:solidFill>
                <a:srgbClr val="000000"/>
              </a:solidFill>
            </a:endParaRPr>
          </a:p>
        </p:txBody>
      </p:sp>
    </p:spTree>
    <p:extLst>
      <p:ext uri="{BB962C8B-B14F-4D97-AF65-F5344CB8AC3E}">
        <p14:creationId xmlns:p14="http://schemas.microsoft.com/office/powerpoint/2010/main" val="834254091"/>
      </p:ext>
    </p:extLst>
  </p:cSld>
  <p:clrMapOvr>
    <a:masterClrMapping/>
  </p:clrMapOvr>
  <p:transition spd="slow">
    <p:wip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lvl1pPr>
              <a:defRPr/>
            </a:lvl1pPr>
          </a:lstStyle>
          <a:p>
            <a:r>
              <a:rPr lang="en-US" smtClean="0"/>
              <a:t>Click to edit Master title style</a:t>
            </a:r>
            <a:endParaRPr lang="en-IN"/>
          </a:p>
        </p:txBody>
      </p:sp>
      <p:sp>
        <p:nvSpPr>
          <p:cNvPr id="3" name="Text Placeholder 2"/>
          <p:cNvSpPr>
            <a:spLocks noGrp="1"/>
          </p:cNvSpPr>
          <p:nvPr>
            <p:ph type="body" idx="1"/>
          </p:nvPr>
        </p:nvSpPr>
        <p:spPr>
          <a:xfrm>
            <a:off x="457201" y="1535113"/>
            <a:ext cx="4040188" cy="639762"/>
          </a:xfrm>
          <a:prstGeom prst="rect">
            <a:avLst/>
          </a:prstGeom>
        </p:spPr>
        <p:txBody>
          <a:bodyPr anchor="b"/>
          <a:lstStyle>
            <a:lvl1pPr marL="0" indent="0">
              <a:buNone/>
              <a:defRPr sz="2400" b="1"/>
            </a:lvl1pPr>
            <a:lvl2pPr marL="457152" indent="0">
              <a:buNone/>
              <a:defRPr sz="2000" b="1"/>
            </a:lvl2pPr>
            <a:lvl3pPr marL="914303" indent="0">
              <a:buNone/>
              <a:defRPr sz="1800" b="1"/>
            </a:lvl3pPr>
            <a:lvl4pPr marL="1371455" indent="0">
              <a:buNone/>
              <a:defRPr sz="1600" b="1"/>
            </a:lvl4pPr>
            <a:lvl5pPr marL="1828606" indent="0">
              <a:buNone/>
              <a:defRPr sz="1600" b="1"/>
            </a:lvl5pPr>
            <a:lvl6pPr marL="2285758" indent="0">
              <a:buNone/>
              <a:defRPr sz="1600" b="1"/>
            </a:lvl6pPr>
            <a:lvl7pPr marL="2742909" indent="0">
              <a:buNone/>
              <a:defRPr sz="1600" b="1"/>
            </a:lvl7pPr>
            <a:lvl8pPr marL="3200061" indent="0">
              <a:buNone/>
              <a:defRPr sz="1600" b="1"/>
            </a:lvl8pPr>
            <a:lvl9pPr marL="3657212"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1" y="2174875"/>
            <a:ext cx="4040188"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a:p>
        </p:txBody>
      </p:sp>
      <p:sp>
        <p:nvSpPr>
          <p:cNvPr id="5" name="Text Placeholder 4"/>
          <p:cNvSpPr>
            <a:spLocks noGrp="1"/>
          </p:cNvSpPr>
          <p:nvPr>
            <p:ph type="body" sz="quarter" idx="3"/>
          </p:nvPr>
        </p:nvSpPr>
        <p:spPr>
          <a:xfrm>
            <a:off x="4645026" y="1535113"/>
            <a:ext cx="4041775" cy="639762"/>
          </a:xfrm>
          <a:prstGeom prst="rect">
            <a:avLst/>
          </a:prstGeom>
        </p:spPr>
        <p:txBody>
          <a:bodyPr anchor="b"/>
          <a:lstStyle>
            <a:lvl1pPr marL="0" indent="0">
              <a:buNone/>
              <a:defRPr sz="2400" b="1"/>
            </a:lvl1pPr>
            <a:lvl2pPr marL="457152" indent="0">
              <a:buNone/>
              <a:defRPr sz="2000" b="1"/>
            </a:lvl2pPr>
            <a:lvl3pPr marL="914303" indent="0">
              <a:buNone/>
              <a:defRPr sz="1800" b="1"/>
            </a:lvl3pPr>
            <a:lvl4pPr marL="1371455" indent="0">
              <a:buNone/>
              <a:defRPr sz="1600" b="1"/>
            </a:lvl4pPr>
            <a:lvl5pPr marL="1828606" indent="0">
              <a:buNone/>
              <a:defRPr sz="1600" b="1"/>
            </a:lvl5pPr>
            <a:lvl6pPr marL="2285758" indent="0">
              <a:buNone/>
              <a:defRPr sz="1600" b="1"/>
            </a:lvl6pPr>
            <a:lvl7pPr marL="2742909" indent="0">
              <a:buNone/>
              <a:defRPr sz="1600" b="1"/>
            </a:lvl7pPr>
            <a:lvl8pPr marL="3200061" indent="0">
              <a:buNone/>
              <a:defRPr sz="1600" b="1"/>
            </a:lvl8pPr>
            <a:lvl9pPr marL="3657212"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6" y="2174875"/>
            <a:ext cx="4041775"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a:p>
        </p:txBody>
      </p:sp>
      <p:sp>
        <p:nvSpPr>
          <p:cNvPr id="7" name="Rectangle 1"/>
          <p:cNvSpPr>
            <a:spLocks noGrp="1" noChangeArrowheads="1"/>
          </p:cNvSpPr>
          <p:nvPr>
            <p:ph type="sldNum" idx="10"/>
          </p:nvPr>
        </p:nvSpPr>
        <p:spPr>
          <a:xfrm>
            <a:off x="6781800" y="6305550"/>
            <a:ext cx="2128838" cy="471488"/>
          </a:xfrm>
          <a:prstGeom prst="rect">
            <a:avLst/>
          </a:prstGeom>
          <a:ln/>
        </p:spPr>
        <p:txBody>
          <a:bodyPr/>
          <a:lstStyle>
            <a:lvl1pPr>
              <a:defRPr/>
            </a:lvl1pPr>
          </a:lstStyle>
          <a:p>
            <a:pPr>
              <a:defRPr/>
            </a:pPr>
            <a:r>
              <a:rPr lang="en-US" dirty="0">
                <a:solidFill>
                  <a:srgbClr val="000000"/>
                </a:solidFill>
              </a:rPr>
              <a:t>Page </a:t>
            </a:r>
            <a:fld id="{084CB248-9C9A-4016-B2AE-704CD5143F0D}" type="slidenum">
              <a:rPr lang="en-US">
                <a:solidFill>
                  <a:srgbClr val="000000"/>
                </a:solidFill>
              </a:rPr>
              <a:pPr>
                <a:defRPr/>
              </a:pPr>
              <a:t>‹#›</a:t>
            </a:fld>
            <a:endParaRPr lang="en-US" dirty="0">
              <a:solidFill>
                <a:srgbClr val="000000"/>
              </a:solidFill>
            </a:endParaRPr>
          </a:p>
        </p:txBody>
      </p:sp>
    </p:spTree>
    <p:extLst>
      <p:ext uri="{BB962C8B-B14F-4D97-AF65-F5344CB8AC3E}">
        <p14:creationId xmlns:p14="http://schemas.microsoft.com/office/powerpoint/2010/main" val="604441369"/>
      </p:ext>
    </p:extLst>
  </p:cSld>
  <p:clrMapOvr>
    <a:masterClrMapping/>
  </p:clrMapOvr>
  <p:transition spd="slow">
    <p:wip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57200" y="490538"/>
            <a:ext cx="8377238" cy="601662"/>
          </a:xfrm>
          <a:prstGeom prst="rect">
            <a:avLst/>
          </a:prstGeom>
        </p:spPr>
        <p:txBody>
          <a:bodyPr/>
          <a:lstStyle/>
          <a:p>
            <a:r>
              <a:rPr lang="en-US" smtClean="0"/>
              <a:t>Click to edit Master title style</a:t>
            </a:r>
            <a:endParaRPr lang="en-IN"/>
          </a:p>
        </p:txBody>
      </p:sp>
      <p:sp>
        <p:nvSpPr>
          <p:cNvPr id="3" name="Rectangle 1"/>
          <p:cNvSpPr>
            <a:spLocks noGrp="1" noChangeArrowheads="1"/>
          </p:cNvSpPr>
          <p:nvPr>
            <p:ph type="sldNum" idx="10"/>
          </p:nvPr>
        </p:nvSpPr>
        <p:spPr>
          <a:xfrm>
            <a:off x="6781800" y="6305550"/>
            <a:ext cx="2128838" cy="471488"/>
          </a:xfrm>
          <a:prstGeom prst="rect">
            <a:avLst/>
          </a:prstGeom>
          <a:ln/>
        </p:spPr>
        <p:txBody>
          <a:bodyPr/>
          <a:lstStyle>
            <a:lvl1pPr>
              <a:defRPr/>
            </a:lvl1pPr>
          </a:lstStyle>
          <a:p>
            <a:pPr>
              <a:defRPr/>
            </a:pPr>
            <a:r>
              <a:rPr lang="en-US" dirty="0">
                <a:solidFill>
                  <a:srgbClr val="000000"/>
                </a:solidFill>
              </a:rPr>
              <a:t>Page </a:t>
            </a:r>
            <a:fld id="{96F56881-A2D6-4F31-9562-4A48371FDA6C}" type="slidenum">
              <a:rPr lang="en-US">
                <a:solidFill>
                  <a:srgbClr val="000000"/>
                </a:solidFill>
              </a:rPr>
              <a:pPr>
                <a:defRPr/>
              </a:pPr>
              <a:t>‹#›</a:t>
            </a:fld>
            <a:endParaRPr lang="en-US" dirty="0">
              <a:solidFill>
                <a:srgbClr val="000000"/>
              </a:solidFill>
            </a:endParaRPr>
          </a:p>
        </p:txBody>
      </p:sp>
    </p:spTree>
    <p:extLst>
      <p:ext uri="{BB962C8B-B14F-4D97-AF65-F5344CB8AC3E}">
        <p14:creationId xmlns:p14="http://schemas.microsoft.com/office/powerpoint/2010/main" val="74472358"/>
      </p:ext>
    </p:extLst>
  </p:cSld>
  <p:clrMapOvr>
    <a:masterClrMapping/>
  </p:clrMapOvr>
  <p:transition spd="slow">
    <p:wip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8" name="Text Placeholder 7"/>
          <p:cNvSpPr>
            <a:spLocks noGrp="1"/>
          </p:cNvSpPr>
          <p:nvPr>
            <p:ph type="body" sz="quarter" idx="11"/>
          </p:nvPr>
        </p:nvSpPr>
        <p:spPr>
          <a:xfrm>
            <a:off x="152400" y="58444"/>
            <a:ext cx="6553200" cy="533400"/>
          </a:xfrm>
          <a:prstGeom prst="rect">
            <a:avLst/>
          </a:prstGeom>
        </p:spPr>
        <p:txBody>
          <a:bodyPr anchor="ctr"/>
          <a:lstStyle>
            <a:lvl1pPr marL="0" indent="0">
              <a:buNone/>
              <a:defRPr sz="3200" b="0">
                <a:solidFill>
                  <a:schemeClr val="bg1"/>
                </a:solidFill>
              </a:defRPr>
            </a:lvl1pPr>
          </a:lstStyle>
          <a:p>
            <a:pPr lvl="0"/>
            <a:endParaRPr lang="en-US" dirty="0"/>
          </a:p>
        </p:txBody>
      </p:sp>
    </p:spTree>
    <p:extLst>
      <p:ext uri="{BB962C8B-B14F-4D97-AF65-F5344CB8AC3E}">
        <p14:creationId xmlns:p14="http://schemas.microsoft.com/office/powerpoint/2010/main" val="2241614833"/>
      </p:ext>
    </p:extLst>
  </p:cSld>
  <p:clrMapOvr>
    <a:masterClrMapping/>
  </p:clrMapOvr>
  <p:transition spd="slow">
    <p:wip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1" y="273050"/>
            <a:ext cx="3008313" cy="1162050"/>
          </a:xfrm>
          <a:prstGeom prst="rect">
            <a:avLst/>
          </a:prstGeom>
        </p:spPr>
        <p:txBody>
          <a:bodyPr anchor="b"/>
          <a:lstStyle>
            <a:lvl1pPr algn="l">
              <a:defRPr sz="2000" b="1"/>
            </a:lvl1pPr>
          </a:lstStyle>
          <a:p>
            <a:r>
              <a:rPr lang="en-US" smtClean="0"/>
              <a:t>Click to edit Master title style</a:t>
            </a:r>
            <a:endParaRPr lang="en-IN"/>
          </a:p>
        </p:txBody>
      </p:sp>
      <p:sp>
        <p:nvSpPr>
          <p:cNvPr id="3" name="Content Placeholder 2"/>
          <p:cNvSpPr>
            <a:spLocks noGrp="1"/>
          </p:cNvSpPr>
          <p:nvPr>
            <p:ph idx="1"/>
          </p:nvPr>
        </p:nvSpPr>
        <p:spPr>
          <a:xfrm>
            <a:off x="3575050" y="273051"/>
            <a:ext cx="5111750" cy="5853113"/>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a:p>
        </p:txBody>
      </p:sp>
      <p:sp>
        <p:nvSpPr>
          <p:cNvPr id="4" name="Text Placeholder 3"/>
          <p:cNvSpPr>
            <a:spLocks noGrp="1"/>
          </p:cNvSpPr>
          <p:nvPr>
            <p:ph type="body" sz="half" idx="2"/>
          </p:nvPr>
        </p:nvSpPr>
        <p:spPr>
          <a:xfrm>
            <a:off x="457201" y="1435100"/>
            <a:ext cx="3008313" cy="4691063"/>
          </a:xfrm>
          <a:prstGeom prst="rect">
            <a:avLst/>
          </a:prstGeom>
        </p:spPr>
        <p:txBody>
          <a:bodyPr/>
          <a:lstStyle>
            <a:lvl1pPr marL="0" indent="0">
              <a:buNone/>
              <a:defRPr sz="1400"/>
            </a:lvl1pPr>
            <a:lvl2pPr marL="457152" indent="0">
              <a:buNone/>
              <a:defRPr sz="1200"/>
            </a:lvl2pPr>
            <a:lvl3pPr marL="914303" indent="0">
              <a:buNone/>
              <a:defRPr sz="1000"/>
            </a:lvl3pPr>
            <a:lvl4pPr marL="1371455" indent="0">
              <a:buNone/>
              <a:defRPr sz="900"/>
            </a:lvl4pPr>
            <a:lvl5pPr marL="1828606" indent="0">
              <a:buNone/>
              <a:defRPr sz="900"/>
            </a:lvl5pPr>
            <a:lvl6pPr marL="2285758" indent="0">
              <a:buNone/>
              <a:defRPr sz="900"/>
            </a:lvl6pPr>
            <a:lvl7pPr marL="2742909" indent="0">
              <a:buNone/>
              <a:defRPr sz="900"/>
            </a:lvl7pPr>
            <a:lvl8pPr marL="3200061" indent="0">
              <a:buNone/>
              <a:defRPr sz="900"/>
            </a:lvl8pPr>
            <a:lvl9pPr marL="3657212" indent="0">
              <a:buNone/>
              <a:defRPr sz="900"/>
            </a:lvl9pPr>
          </a:lstStyle>
          <a:p>
            <a:pPr lvl="0"/>
            <a:r>
              <a:rPr lang="en-US" smtClean="0"/>
              <a:t>Click to edit Master text styles</a:t>
            </a:r>
          </a:p>
        </p:txBody>
      </p:sp>
      <p:sp>
        <p:nvSpPr>
          <p:cNvPr id="5" name="Rectangle 1"/>
          <p:cNvSpPr>
            <a:spLocks noGrp="1" noChangeArrowheads="1"/>
          </p:cNvSpPr>
          <p:nvPr>
            <p:ph type="sldNum" idx="10"/>
          </p:nvPr>
        </p:nvSpPr>
        <p:spPr>
          <a:xfrm>
            <a:off x="6781800" y="6305550"/>
            <a:ext cx="2128838" cy="471488"/>
          </a:xfrm>
          <a:prstGeom prst="rect">
            <a:avLst/>
          </a:prstGeom>
          <a:ln/>
        </p:spPr>
        <p:txBody>
          <a:bodyPr/>
          <a:lstStyle>
            <a:lvl1pPr>
              <a:defRPr/>
            </a:lvl1pPr>
          </a:lstStyle>
          <a:p>
            <a:pPr>
              <a:defRPr/>
            </a:pPr>
            <a:r>
              <a:rPr lang="en-US" dirty="0">
                <a:solidFill>
                  <a:srgbClr val="000000"/>
                </a:solidFill>
              </a:rPr>
              <a:t>Page </a:t>
            </a:r>
            <a:fld id="{644D51F1-A603-4A24-BD5A-57E78F3CF38A}" type="slidenum">
              <a:rPr lang="en-US">
                <a:solidFill>
                  <a:srgbClr val="000000"/>
                </a:solidFill>
              </a:rPr>
              <a:pPr>
                <a:defRPr/>
              </a:pPr>
              <a:t>‹#›</a:t>
            </a:fld>
            <a:endParaRPr lang="en-US" dirty="0">
              <a:solidFill>
                <a:srgbClr val="000000"/>
              </a:solidFill>
            </a:endParaRPr>
          </a:p>
        </p:txBody>
      </p:sp>
    </p:spTree>
    <p:extLst>
      <p:ext uri="{BB962C8B-B14F-4D97-AF65-F5344CB8AC3E}">
        <p14:creationId xmlns:p14="http://schemas.microsoft.com/office/powerpoint/2010/main" val="647326272"/>
      </p:ext>
    </p:extLst>
  </p:cSld>
  <p:clrMapOvr>
    <a:masterClrMapping/>
  </p:clrMapOvr>
  <p:transition spd="slow">
    <p:wip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a:prstGeom prst="rect">
            <a:avLst/>
          </a:prstGeom>
        </p:spPr>
        <p:txBody>
          <a:bodyPr anchor="b"/>
          <a:lstStyle>
            <a:lvl1pPr algn="l">
              <a:defRPr sz="2000" b="1"/>
            </a:lvl1pPr>
          </a:lstStyle>
          <a:p>
            <a:r>
              <a:rPr lang="en-US" smtClean="0"/>
              <a:t>Click to edit Master title style</a:t>
            </a:r>
            <a:endParaRPr lang="en-IN"/>
          </a:p>
        </p:txBody>
      </p:sp>
      <p:sp>
        <p:nvSpPr>
          <p:cNvPr id="3" name="Picture Placeholder 2"/>
          <p:cNvSpPr>
            <a:spLocks noGrp="1"/>
          </p:cNvSpPr>
          <p:nvPr>
            <p:ph type="pic" idx="1"/>
          </p:nvPr>
        </p:nvSpPr>
        <p:spPr>
          <a:xfrm>
            <a:off x="1792288" y="612775"/>
            <a:ext cx="5486400" cy="4114800"/>
          </a:xfrm>
          <a:prstGeom prst="rect">
            <a:avLst/>
          </a:prstGeom>
        </p:spPr>
        <p:txBody>
          <a:bodyPr/>
          <a:lstStyle>
            <a:lvl1pPr marL="0" indent="0">
              <a:buNone/>
              <a:defRPr sz="3200"/>
            </a:lvl1pPr>
            <a:lvl2pPr marL="457152" indent="0">
              <a:buNone/>
              <a:defRPr sz="2800"/>
            </a:lvl2pPr>
            <a:lvl3pPr marL="914303" indent="0">
              <a:buNone/>
              <a:defRPr sz="2400"/>
            </a:lvl3pPr>
            <a:lvl4pPr marL="1371455" indent="0">
              <a:buNone/>
              <a:defRPr sz="2000"/>
            </a:lvl4pPr>
            <a:lvl5pPr marL="1828606" indent="0">
              <a:buNone/>
              <a:defRPr sz="2000"/>
            </a:lvl5pPr>
            <a:lvl6pPr marL="2285758" indent="0">
              <a:buNone/>
              <a:defRPr sz="2000"/>
            </a:lvl6pPr>
            <a:lvl7pPr marL="2742909" indent="0">
              <a:buNone/>
              <a:defRPr sz="2000"/>
            </a:lvl7pPr>
            <a:lvl8pPr marL="3200061" indent="0">
              <a:buNone/>
              <a:defRPr sz="2000"/>
            </a:lvl8pPr>
            <a:lvl9pPr marL="3657212" indent="0">
              <a:buNone/>
              <a:defRPr sz="2000"/>
            </a:lvl9pPr>
          </a:lstStyle>
          <a:p>
            <a:pPr lvl="0"/>
            <a:endParaRPr lang="en-IN" noProof="0" dirty="0" smtClean="0"/>
          </a:p>
        </p:txBody>
      </p:sp>
      <p:sp>
        <p:nvSpPr>
          <p:cNvPr id="4" name="Text Placeholder 3"/>
          <p:cNvSpPr>
            <a:spLocks noGrp="1"/>
          </p:cNvSpPr>
          <p:nvPr>
            <p:ph type="body" sz="half" idx="2"/>
          </p:nvPr>
        </p:nvSpPr>
        <p:spPr>
          <a:xfrm>
            <a:off x="1792288" y="5367338"/>
            <a:ext cx="5486400" cy="804862"/>
          </a:xfrm>
          <a:prstGeom prst="rect">
            <a:avLst/>
          </a:prstGeom>
        </p:spPr>
        <p:txBody>
          <a:bodyPr/>
          <a:lstStyle>
            <a:lvl1pPr marL="0" indent="0">
              <a:buNone/>
              <a:defRPr sz="1400"/>
            </a:lvl1pPr>
            <a:lvl2pPr marL="457152" indent="0">
              <a:buNone/>
              <a:defRPr sz="1200"/>
            </a:lvl2pPr>
            <a:lvl3pPr marL="914303" indent="0">
              <a:buNone/>
              <a:defRPr sz="1000"/>
            </a:lvl3pPr>
            <a:lvl4pPr marL="1371455" indent="0">
              <a:buNone/>
              <a:defRPr sz="900"/>
            </a:lvl4pPr>
            <a:lvl5pPr marL="1828606" indent="0">
              <a:buNone/>
              <a:defRPr sz="900"/>
            </a:lvl5pPr>
            <a:lvl6pPr marL="2285758" indent="0">
              <a:buNone/>
              <a:defRPr sz="900"/>
            </a:lvl6pPr>
            <a:lvl7pPr marL="2742909" indent="0">
              <a:buNone/>
              <a:defRPr sz="900"/>
            </a:lvl7pPr>
            <a:lvl8pPr marL="3200061" indent="0">
              <a:buNone/>
              <a:defRPr sz="900"/>
            </a:lvl8pPr>
            <a:lvl9pPr marL="3657212" indent="0">
              <a:buNone/>
              <a:defRPr sz="900"/>
            </a:lvl9pPr>
          </a:lstStyle>
          <a:p>
            <a:pPr lvl="0"/>
            <a:r>
              <a:rPr lang="en-US" smtClean="0"/>
              <a:t>Click to edit Master text styles</a:t>
            </a:r>
          </a:p>
        </p:txBody>
      </p:sp>
      <p:sp>
        <p:nvSpPr>
          <p:cNvPr id="5" name="Rectangle 1"/>
          <p:cNvSpPr>
            <a:spLocks noGrp="1" noChangeArrowheads="1"/>
          </p:cNvSpPr>
          <p:nvPr>
            <p:ph type="sldNum" idx="10"/>
          </p:nvPr>
        </p:nvSpPr>
        <p:spPr>
          <a:xfrm>
            <a:off x="6781800" y="6305550"/>
            <a:ext cx="2128838" cy="471488"/>
          </a:xfrm>
          <a:prstGeom prst="rect">
            <a:avLst/>
          </a:prstGeom>
          <a:ln/>
        </p:spPr>
        <p:txBody>
          <a:bodyPr/>
          <a:lstStyle>
            <a:lvl1pPr>
              <a:defRPr/>
            </a:lvl1pPr>
          </a:lstStyle>
          <a:p>
            <a:pPr>
              <a:defRPr/>
            </a:pPr>
            <a:r>
              <a:rPr lang="en-US" dirty="0">
                <a:solidFill>
                  <a:srgbClr val="000000"/>
                </a:solidFill>
              </a:rPr>
              <a:t>Page </a:t>
            </a:r>
            <a:fld id="{FEDBA223-C9BF-4705-879F-9EF1E1D26A30}" type="slidenum">
              <a:rPr lang="en-US">
                <a:solidFill>
                  <a:srgbClr val="000000"/>
                </a:solidFill>
              </a:rPr>
              <a:pPr>
                <a:defRPr/>
              </a:pPr>
              <a:t>‹#›</a:t>
            </a:fld>
            <a:endParaRPr lang="en-US" dirty="0">
              <a:solidFill>
                <a:srgbClr val="000000"/>
              </a:solidFill>
            </a:endParaRPr>
          </a:p>
        </p:txBody>
      </p:sp>
    </p:spTree>
    <p:extLst>
      <p:ext uri="{BB962C8B-B14F-4D97-AF65-F5344CB8AC3E}">
        <p14:creationId xmlns:p14="http://schemas.microsoft.com/office/powerpoint/2010/main" val="3915680633"/>
      </p:ext>
    </p:extLst>
  </p:cSld>
  <p:clrMapOvr>
    <a:masterClrMapping/>
  </p:clrMapOvr>
  <p:transition spd="slow">
    <p:wip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image" Target="../media/image4.jpe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3.jpeg"/><Relationship Id="rId2" Type="http://schemas.openxmlformats.org/officeDocument/2006/relationships/slideLayout" Target="../slideLayouts/slideLayout2.xml"/><Relationship Id="rId16" Type="http://schemas.openxmlformats.org/officeDocument/2006/relationships/image" Target="../media/image2.jpe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jpeg"/><Relationship Id="rId10" Type="http://schemas.openxmlformats.org/officeDocument/2006/relationships/slideLayout" Target="../slideLayouts/slideLayout10.xml"/><Relationship Id="rId19" Type="http://schemas.openxmlformats.org/officeDocument/2006/relationships/image" Target="../media/image5.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pic>
        <p:nvPicPr>
          <p:cNvPr id="2053" name="Picture 4"/>
          <p:cNvPicPr>
            <a:picLocks noChangeAspect="1" noChangeArrowheads="1"/>
          </p:cNvPicPr>
          <p:nvPr/>
        </p:nvPicPr>
        <p:blipFill>
          <a:blip r:embed="rId15" cstate="email">
            <a:extLst>
              <a:ext uri="{28A0092B-C50C-407E-A947-70E740481C1C}">
                <a14:useLocalDpi xmlns:a14="http://schemas.microsoft.com/office/drawing/2010/main"/>
              </a:ext>
            </a:extLst>
          </a:blip>
          <a:srcRect/>
          <a:stretch>
            <a:fillRect/>
          </a:stretch>
        </p:blipFill>
        <p:spPr bwMode="auto">
          <a:xfrm>
            <a:off x="0" y="6616700"/>
            <a:ext cx="9144000"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pic>
      <p:sp>
        <p:nvSpPr>
          <p:cNvPr id="2055" name="Text Box 6"/>
          <p:cNvSpPr txBox="1">
            <a:spLocks noChangeArrowheads="1"/>
          </p:cNvSpPr>
          <p:nvPr/>
        </p:nvSpPr>
        <p:spPr bwMode="auto">
          <a:xfrm>
            <a:off x="381000" y="6305550"/>
            <a:ext cx="2133600" cy="476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wrap="none" lIns="91430" tIns="45716" rIns="91430" bIns="45716" anchor="ctr"/>
          <a:lstStyle>
            <a:lvl1pPr eaLnBrk="0" hangingPunct="0">
              <a:defRPr>
                <a:solidFill>
                  <a:schemeClr val="bg1"/>
                </a:solidFill>
                <a:latin typeface="Arial" charset="0"/>
                <a:ea typeface="Arial Unicode MS" pitchFamily="34" charset="-128"/>
                <a:cs typeface="Arial Unicode MS" pitchFamily="34" charset="-128"/>
              </a:defRPr>
            </a:lvl1pPr>
            <a:lvl2pPr marL="742950" indent="-285750" eaLnBrk="0" hangingPunct="0">
              <a:defRPr>
                <a:solidFill>
                  <a:schemeClr val="bg1"/>
                </a:solidFill>
                <a:latin typeface="Arial" charset="0"/>
                <a:ea typeface="Arial Unicode MS" pitchFamily="34" charset="-128"/>
                <a:cs typeface="Arial Unicode MS" pitchFamily="34" charset="-128"/>
              </a:defRPr>
            </a:lvl2pPr>
            <a:lvl3pPr marL="1143000" indent="-228600" eaLnBrk="0" hangingPunct="0">
              <a:defRPr>
                <a:solidFill>
                  <a:schemeClr val="bg1"/>
                </a:solidFill>
                <a:latin typeface="Arial" charset="0"/>
                <a:ea typeface="Arial Unicode MS" pitchFamily="34" charset="-128"/>
                <a:cs typeface="Arial Unicode MS" pitchFamily="34" charset="-128"/>
              </a:defRPr>
            </a:lvl3pPr>
            <a:lvl4pPr marL="1600200" indent="-228600" eaLnBrk="0" hangingPunct="0">
              <a:defRPr>
                <a:solidFill>
                  <a:schemeClr val="bg1"/>
                </a:solidFill>
                <a:latin typeface="Arial" charset="0"/>
                <a:ea typeface="Arial Unicode MS" pitchFamily="34" charset="-128"/>
                <a:cs typeface="Arial Unicode MS" pitchFamily="34" charset="-128"/>
              </a:defRPr>
            </a:lvl4pPr>
            <a:lvl5pPr marL="2057400" indent="-228600" eaLnBrk="0" hangingPunct="0">
              <a:defRPr>
                <a:solidFill>
                  <a:schemeClr val="bg1"/>
                </a:solidFill>
                <a:latin typeface="Arial" charset="0"/>
                <a:ea typeface="Arial Unicode MS" pitchFamily="34" charset="-128"/>
                <a:cs typeface="Arial Unicode MS" pitchFamily="34" charset="-128"/>
              </a:defRPr>
            </a:lvl5pPr>
            <a:lvl6pPr marL="2514600" indent="-228600" defTabSz="455613" eaLnBrk="0" fontAlgn="base" hangingPunct="0">
              <a:spcBef>
                <a:spcPct val="0"/>
              </a:spcBef>
              <a:spcAft>
                <a:spcPct val="0"/>
              </a:spcAft>
              <a:defRPr>
                <a:solidFill>
                  <a:schemeClr val="bg1"/>
                </a:solidFill>
                <a:latin typeface="Arial" charset="0"/>
                <a:ea typeface="Arial Unicode MS" pitchFamily="34" charset="-128"/>
                <a:cs typeface="Arial Unicode MS" pitchFamily="34" charset="-128"/>
              </a:defRPr>
            </a:lvl6pPr>
            <a:lvl7pPr marL="2971800" indent="-228600" defTabSz="455613" eaLnBrk="0" fontAlgn="base" hangingPunct="0">
              <a:spcBef>
                <a:spcPct val="0"/>
              </a:spcBef>
              <a:spcAft>
                <a:spcPct val="0"/>
              </a:spcAft>
              <a:defRPr>
                <a:solidFill>
                  <a:schemeClr val="bg1"/>
                </a:solidFill>
                <a:latin typeface="Arial" charset="0"/>
                <a:ea typeface="Arial Unicode MS" pitchFamily="34" charset="-128"/>
                <a:cs typeface="Arial Unicode MS" pitchFamily="34" charset="-128"/>
              </a:defRPr>
            </a:lvl7pPr>
            <a:lvl8pPr marL="3429000" indent="-228600" defTabSz="455613" eaLnBrk="0" fontAlgn="base" hangingPunct="0">
              <a:spcBef>
                <a:spcPct val="0"/>
              </a:spcBef>
              <a:spcAft>
                <a:spcPct val="0"/>
              </a:spcAft>
              <a:defRPr>
                <a:solidFill>
                  <a:schemeClr val="bg1"/>
                </a:solidFill>
                <a:latin typeface="Arial" charset="0"/>
                <a:ea typeface="Arial Unicode MS" pitchFamily="34" charset="-128"/>
                <a:cs typeface="Arial Unicode MS" pitchFamily="34" charset="-128"/>
              </a:defRPr>
            </a:lvl8pPr>
            <a:lvl9pPr marL="3886200" indent="-228600" defTabSz="455613" eaLnBrk="0" fontAlgn="base" hangingPunct="0">
              <a:spcBef>
                <a:spcPct val="0"/>
              </a:spcBef>
              <a:spcAft>
                <a:spcPct val="0"/>
              </a:spcAft>
              <a:defRPr>
                <a:solidFill>
                  <a:schemeClr val="bg1"/>
                </a:solidFill>
                <a:latin typeface="Arial" charset="0"/>
                <a:ea typeface="Arial Unicode MS" pitchFamily="34" charset="-128"/>
                <a:cs typeface="Arial Unicode MS" pitchFamily="34" charset="-128"/>
              </a:defRPr>
            </a:lvl9pPr>
          </a:lstStyle>
          <a:p>
            <a:pPr defTabSz="455613" eaLnBrk="1" fontAlgn="base" hangingPunct="1">
              <a:spcBef>
                <a:spcPct val="0"/>
              </a:spcBef>
              <a:spcAft>
                <a:spcPct val="0"/>
              </a:spcAft>
              <a:buClr>
                <a:srgbClr val="000000"/>
              </a:buClr>
              <a:buSzPct val="100000"/>
              <a:buFont typeface="Times New Roman" pitchFamily="18" charset="0"/>
              <a:buNone/>
              <a:defRPr/>
            </a:pPr>
            <a:endParaRPr lang="en-IN" dirty="0" smtClean="0">
              <a:solidFill>
                <a:srgbClr val="FFFFFF"/>
              </a:solidFill>
              <a:latin typeface="Sylfaen" pitchFamily="18" charset="0"/>
            </a:endParaRPr>
          </a:p>
        </p:txBody>
      </p:sp>
      <p:sp>
        <p:nvSpPr>
          <p:cNvPr id="2056" name="Text Box 7"/>
          <p:cNvSpPr txBox="1">
            <a:spLocks noChangeArrowheads="1"/>
          </p:cNvSpPr>
          <p:nvPr/>
        </p:nvSpPr>
        <p:spPr bwMode="auto">
          <a:xfrm>
            <a:off x="3124200" y="6305550"/>
            <a:ext cx="2895600" cy="476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wrap="none" lIns="91430" tIns="45716" rIns="91430" bIns="45716" anchor="ctr"/>
          <a:lstStyle>
            <a:lvl1pPr eaLnBrk="0" hangingPunct="0">
              <a:defRPr>
                <a:solidFill>
                  <a:schemeClr val="bg1"/>
                </a:solidFill>
                <a:latin typeface="Arial" charset="0"/>
                <a:ea typeface="Arial Unicode MS" pitchFamily="34" charset="-128"/>
                <a:cs typeface="Arial Unicode MS" pitchFamily="34" charset="-128"/>
              </a:defRPr>
            </a:lvl1pPr>
            <a:lvl2pPr marL="742950" indent="-285750" eaLnBrk="0" hangingPunct="0">
              <a:defRPr>
                <a:solidFill>
                  <a:schemeClr val="bg1"/>
                </a:solidFill>
                <a:latin typeface="Arial" charset="0"/>
                <a:ea typeface="Arial Unicode MS" pitchFamily="34" charset="-128"/>
                <a:cs typeface="Arial Unicode MS" pitchFamily="34" charset="-128"/>
              </a:defRPr>
            </a:lvl2pPr>
            <a:lvl3pPr marL="1143000" indent="-228600" eaLnBrk="0" hangingPunct="0">
              <a:defRPr>
                <a:solidFill>
                  <a:schemeClr val="bg1"/>
                </a:solidFill>
                <a:latin typeface="Arial" charset="0"/>
                <a:ea typeface="Arial Unicode MS" pitchFamily="34" charset="-128"/>
                <a:cs typeface="Arial Unicode MS" pitchFamily="34" charset="-128"/>
              </a:defRPr>
            </a:lvl3pPr>
            <a:lvl4pPr marL="1600200" indent="-228600" eaLnBrk="0" hangingPunct="0">
              <a:defRPr>
                <a:solidFill>
                  <a:schemeClr val="bg1"/>
                </a:solidFill>
                <a:latin typeface="Arial" charset="0"/>
                <a:ea typeface="Arial Unicode MS" pitchFamily="34" charset="-128"/>
                <a:cs typeface="Arial Unicode MS" pitchFamily="34" charset="-128"/>
              </a:defRPr>
            </a:lvl4pPr>
            <a:lvl5pPr marL="2057400" indent="-228600" eaLnBrk="0" hangingPunct="0">
              <a:defRPr>
                <a:solidFill>
                  <a:schemeClr val="bg1"/>
                </a:solidFill>
                <a:latin typeface="Arial" charset="0"/>
                <a:ea typeface="Arial Unicode MS" pitchFamily="34" charset="-128"/>
                <a:cs typeface="Arial Unicode MS" pitchFamily="34" charset="-128"/>
              </a:defRPr>
            </a:lvl5pPr>
            <a:lvl6pPr marL="2514600" indent="-228600" defTabSz="455613" eaLnBrk="0" fontAlgn="base" hangingPunct="0">
              <a:spcBef>
                <a:spcPct val="0"/>
              </a:spcBef>
              <a:spcAft>
                <a:spcPct val="0"/>
              </a:spcAft>
              <a:defRPr>
                <a:solidFill>
                  <a:schemeClr val="bg1"/>
                </a:solidFill>
                <a:latin typeface="Arial" charset="0"/>
                <a:ea typeface="Arial Unicode MS" pitchFamily="34" charset="-128"/>
                <a:cs typeface="Arial Unicode MS" pitchFamily="34" charset="-128"/>
              </a:defRPr>
            </a:lvl6pPr>
            <a:lvl7pPr marL="2971800" indent="-228600" defTabSz="455613" eaLnBrk="0" fontAlgn="base" hangingPunct="0">
              <a:spcBef>
                <a:spcPct val="0"/>
              </a:spcBef>
              <a:spcAft>
                <a:spcPct val="0"/>
              </a:spcAft>
              <a:defRPr>
                <a:solidFill>
                  <a:schemeClr val="bg1"/>
                </a:solidFill>
                <a:latin typeface="Arial" charset="0"/>
                <a:ea typeface="Arial Unicode MS" pitchFamily="34" charset="-128"/>
                <a:cs typeface="Arial Unicode MS" pitchFamily="34" charset="-128"/>
              </a:defRPr>
            </a:lvl7pPr>
            <a:lvl8pPr marL="3429000" indent="-228600" defTabSz="455613" eaLnBrk="0" fontAlgn="base" hangingPunct="0">
              <a:spcBef>
                <a:spcPct val="0"/>
              </a:spcBef>
              <a:spcAft>
                <a:spcPct val="0"/>
              </a:spcAft>
              <a:defRPr>
                <a:solidFill>
                  <a:schemeClr val="bg1"/>
                </a:solidFill>
                <a:latin typeface="Arial" charset="0"/>
                <a:ea typeface="Arial Unicode MS" pitchFamily="34" charset="-128"/>
                <a:cs typeface="Arial Unicode MS" pitchFamily="34" charset="-128"/>
              </a:defRPr>
            </a:lvl8pPr>
            <a:lvl9pPr marL="3886200" indent="-228600" defTabSz="455613" eaLnBrk="0" fontAlgn="base" hangingPunct="0">
              <a:spcBef>
                <a:spcPct val="0"/>
              </a:spcBef>
              <a:spcAft>
                <a:spcPct val="0"/>
              </a:spcAft>
              <a:defRPr>
                <a:solidFill>
                  <a:schemeClr val="bg1"/>
                </a:solidFill>
                <a:latin typeface="Arial" charset="0"/>
                <a:ea typeface="Arial Unicode MS" pitchFamily="34" charset="-128"/>
                <a:cs typeface="Arial Unicode MS" pitchFamily="34" charset="-128"/>
              </a:defRPr>
            </a:lvl9pPr>
          </a:lstStyle>
          <a:p>
            <a:pPr defTabSz="455613" eaLnBrk="1" fontAlgn="base" hangingPunct="1">
              <a:spcBef>
                <a:spcPct val="0"/>
              </a:spcBef>
              <a:spcAft>
                <a:spcPct val="0"/>
              </a:spcAft>
              <a:buClr>
                <a:srgbClr val="000000"/>
              </a:buClr>
              <a:buSzPct val="100000"/>
              <a:buFont typeface="Times New Roman" pitchFamily="18" charset="0"/>
              <a:buNone/>
              <a:defRPr/>
            </a:pPr>
            <a:endParaRPr lang="en-IN" dirty="0" smtClean="0">
              <a:solidFill>
                <a:srgbClr val="FFFFFF"/>
              </a:solidFill>
              <a:latin typeface="Sylfaen" pitchFamily="18" charset="0"/>
            </a:endParaRPr>
          </a:p>
        </p:txBody>
      </p:sp>
      <p:grpSp>
        <p:nvGrpSpPr>
          <p:cNvPr id="5" name="Group 4"/>
          <p:cNvGrpSpPr/>
          <p:nvPr userDrawn="1"/>
        </p:nvGrpSpPr>
        <p:grpSpPr>
          <a:xfrm>
            <a:off x="-2" y="0"/>
            <a:ext cx="9144002" cy="640080"/>
            <a:chOff x="-2" y="0"/>
            <a:chExt cx="9144002" cy="640080"/>
          </a:xfrm>
        </p:grpSpPr>
        <p:grpSp>
          <p:nvGrpSpPr>
            <p:cNvPr id="4" name="Group 3"/>
            <p:cNvGrpSpPr/>
            <p:nvPr userDrawn="1"/>
          </p:nvGrpSpPr>
          <p:grpSpPr>
            <a:xfrm>
              <a:off x="-2" y="0"/>
              <a:ext cx="8229601" cy="640080"/>
              <a:chOff x="-1" y="0"/>
              <a:chExt cx="8188698" cy="640080"/>
            </a:xfrm>
          </p:grpSpPr>
          <p:pic>
            <p:nvPicPr>
              <p:cNvPr id="9" name="Picture 5"/>
              <p:cNvPicPr>
                <a:picLocks noChangeAspect="1" noChangeArrowheads="1"/>
              </p:cNvPicPr>
              <p:nvPr userDrawn="1"/>
            </p:nvPicPr>
            <p:blipFill rotWithShape="1">
              <a:blip r:embed="rId16" cstate="email">
                <a:extLst>
                  <a:ext uri="{28A0092B-C50C-407E-A947-70E740481C1C}">
                    <a14:useLocalDpi xmlns:a14="http://schemas.microsoft.com/office/drawing/2010/main"/>
                  </a:ext>
                </a:extLst>
              </a:blip>
              <a:srcRect/>
              <a:stretch/>
            </p:blipFill>
            <p:spPr bwMode="auto">
              <a:xfrm>
                <a:off x="-1" y="0"/>
                <a:ext cx="2047175" cy="6400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pic>
          <p:pic>
            <p:nvPicPr>
              <p:cNvPr id="2054" name="Picture 5"/>
              <p:cNvPicPr>
                <a:picLocks noChangeAspect="1" noChangeArrowheads="1"/>
              </p:cNvPicPr>
              <p:nvPr/>
            </p:nvPicPr>
            <p:blipFill rotWithShape="1">
              <a:blip r:embed="rId17" cstate="email">
                <a:extLst>
                  <a:ext uri="{28A0092B-C50C-407E-A947-70E740481C1C}">
                    <a14:useLocalDpi xmlns:a14="http://schemas.microsoft.com/office/drawing/2010/main"/>
                  </a:ext>
                </a:extLst>
              </a:blip>
              <a:srcRect/>
              <a:stretch/>
            </p:blipFill>
            <p:spPr bwMode="auto">
              <a:xfrm flipH="1">
                <a:off x="1892672" y="0"/>
                <a:ext cx="6296025" cy="6400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pic>
        </p:grpSp>
        <p:pic>
          <p:nvPicPr>
            <p:cNvPr id="10" name="Picture 5"/>
            <p:cNvPicPr>
              <a:picLocks noChangeAspect="1" noChangeArrowheads="1"/>
            </p:cNvPicPr>
            <p:nvPr userDrawn="1"/>
          </p:nvPicPr>
          <p:blipFill rotWithShape="1">
            <a:blip r:embed="rId18" cstate="email">
              <a:extLst>
                <a:ext uri="{28A0092B-C50C-407E-A947-70E740481C1C}">
                  <a14:useLocalDpi xmlns:a14="http://schemas.microsoft.com/office/drawing/2010/main"/>
                </a:ext>
              </a:extLst>
            </a:blip>
            <a:srcRect/>
            <a:stretch/>
          </p:blipFill>
          <p:spPr bwMode="auto">
            <a:xfrm>
              <a:off x="8195178" y="0"/>
              <a:ext cx="948822" cy="6400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pic>
        <p:pic>
          <p:nvPicPr>
            <p:cNvPr id="3074" name="Picture 2" descr="Z:\Presentation Zone\Backup Data\Logos n Pics\L&amp;T Logo Transperant.png"/>
            <p:cNvPicPr>
              <a:picLocks noChangeAspect="1" noChangeArrowheads="1"/>
            </p:cNvPicPr>
            <p:nvPr userDrawn="1"/>
          </p:nvPicPr>
          <p:blipFill>
            <a:blip r:embed="rId19" cstate="email">
              <a:extLst>
                <a:ext uri="{28A0092B-C50C-407E-A947-70E740481C1C}">
                  <a14:useLocalDpi xmlns:a14="http://schemas.microsoft.com/office/drawing/2010/main"/>
                </a:ext>
              </a:extLst>
            </a:blip>
            <a:srcRect/>
            <a:stretch>
              <a:fillRect/>
            </a:stretch>
          </p:blipFill>
          <p:spPr bwMode="auto">
            <a:xfrm>
              <a:off x="8504079" y="63500"/>
              <a:ext cx="522565" cy="502920"/>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2121696870"/>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4" r:id="rId13"/>
  </p:sldLayoutIdLst>
  <p:transition spd="slow">
    <p:wipe/>
  </p:transition>
  <p:timing>
    <p:tnLst>
      <p:par>
        <p:cTn id="1" dur="indefinite" restart="never" nodeType="tmRoot"/>
      </p:par>
    </p:tnLst>
  </p:timing>
  <p:hf hdr="0" ftr="0" dt="0"/>
  <p:txStyles>
    <p:titleStyle>
      <a:lvl1pPr algn="l" defTabSz="455613" rtl="0" eaLnBrk="0" fontAlgn="base" hangingPunct="0">
        <a:spcBef>
          <a:spcPct val="0"/>
        </a:spcBef>
        <a:spcAft>
          <a:spcPct val="0"/>
        </a:spcAft>
        <a:buClr>
          <a:srgbClr val="000000"/>
        </a:buClr>
        <a:buSzPct val="100000"/>
        <a:buFont typeface="Times New Roman" pitchFamily="18" charset="0"/>
        <a:defRPr sz="2800">
          <a:solidFill>
            <a:srgbClr val="000000"/>
          </a:solidFill>
          <a:latin typeface="+mj-lt"/>
          <a:ea typeface="Arial Unicode MS" pitchFamily="34" charset="-128"/>
          <a:cs typeface="Arial Unicode MS" pitchFamily="34" charset="-128"/>
        </a:defRPr>
      </a:lvl1pPr>
      <a:lvl2pPr algn="l" defTabSz="455613" rtl="0" eaLnBrk="0" fontAlgn="base" hangingPunct="0">
        <a:spcBef>
          <a:spcPct val="0"/>
        </a:spcBef>
        <a:spcAft>
          <a:spcPct val="0"/>
        </a:spcAft>
        <a:buClr>
          <a:srgbClr val="000000"/>
        </a:buClr>
        <a:buSzPct val="100000"/>
        <a:buFont typeface="Times New Roman" pitchFamily="18" charset="0"/>
        <a:defRPr sz="2800">
          <a:solidFill>
            <a:srgbClr val="000000"/>
          </a:solidFill>
          <a:latin typeface="Calibri" pitchFamily="34" charset="0"/>
          <a:ea typeface="Arial Unicode MS" pitchFamily="34" charset="-128"/>
          <a:cs typeface="Arial Unicode MS" charset="0"/>
        </a:defRPr>
      </a:lvl2pPr>
      <a:lvl3pPr algn="l" defTabSz="455613" rtl="0" eaLnBrk="0" fontAlgn="base" hangingPunct="0">
        <a:spcBef>
          <a:spcPct val="0"/>
        </a:spcBef>
        <a:spcAft>
          <a:spcPct val="0"/>
        </a:spcAft>
        <a:buClr>
          <a:srgbClr val="000000"/>
        </a:buClr>
        <a:buSzPct val="100000"/>
        <a:buFont typeface="Times New Roman" pitchFamily="18" charset="0"/>
        <a:defRPr sz="2800">
          <a:solidFill>
            <a:srgbClr val="000000"/>
          </a:solidFill>
          <a:latin typeface="Calibri" pitchFamily="34" charset="0"/>
          <a:ea typeface="Arial Unicode MS" pitchFamily="34" charset="-128"/>
          <a:cs typeface="Arial Unicode MS" charset="0"/>
        </a:defRPr>
      </a:lvl3pPr>
      <a:lvl4pPr algn="l" defTabSz="455613" rtl="0" eaLnBrk="0" fontAlgn="base" hangingPunct="0">
        <a:spcBef>
          <a:spcPct val="0"/>
        </a:spcBef>
        <a:spcAft>
          <a:spcPct val="0"/>
        </a:spcAft>
        <a:buClr>
          <a:srgbClr val="000000"/>
        </a:buClr>
        <a:buSzPct val="100000"/>
        <a:buFont typeface="Times New Roman" pitchFamily="18" charset="0"/>
        <a:defRPr sz="2800">
          <a:solidFill>
            <a:srgbClr val="000000"/>
          </a:solidFill>
          <a:latin typeface="Calibri" pitchFamily="34" charset="0"/>
          <a:ea typeface="Arial Unicode MS" pitchFamily="34" charset="-128"/>
          <a:cs typeface="Arial Unicode MS" charset="0"/>
        </a:defRPr>
      </a:lvl4pPr>
      <a:lvl5pPr algn="l" defTabSz="455613" rtl="0" eaLnBrk="0" fontAlgn="base" hangingPunct="0">
        <a:spcBef>
          <a:spcPct val="0"/>
        </a:spcBef>
        <a:spcAft>
          <a:spcPct val="0"/>
        </a:spcAft>
        <a:buClr>
          <a:srgbClr val="000000"/>
        </a:buClr>
        <a:buSzPct val="100000"/>
        <a:buFont typeface="Times New Roman" pitchFamily="18" charset="0"/>
        <a:defRPr sz="2800">
          <a:solidFill>
            <a:srgbClr val="000000"/>
          </a:solidFill>
          <a:latin typeface="Calibri" pitchFamily="34" charset="0"/>
          <a:ea typeface="Arial Unicode MS" pitchFamily="34" charset="-128"/>
          <a:cs typeface="Arial Unicode MS" charset="0"/>
        </a:defRPr>
      </a:lvl5pPr>
      <a:lvl6pPr marL="2514333" indent="-228576" algn="l" defTabSz="457152" rtl="0" eaLnBrk="0" fontAlgn="base" hangingPunct="0">
        <a:spcBef>
          <a:spcPct val="0"/>
        </a:spcBef>
        <a:spcAft>
          <a:spcPct val="0"/>
        </a:spcAft>
        <a:buClr>
          <a:srgbClr val="000000"/>
        </a:buClr>
        <a:buSzPct val="100000"/>
        <a:buFont typeface="Times New Roman" pitchFamily="16" charset="0"/>
        <a:defRPr sz="2800">
          <a:solidFill>
            <a:srgbClr val="000000"/>
          </a:solidFill>
          <a:latin typeface="Arial" charset="0"/>
          <a:cs typeface="Arial Unicode MS" charset="0"/>
        </a:defRPr>
      </a:lvl6pPr>
      <a:lvl7pPr marL="2971485" indent="-228576" algn="l" defTabSz="457152" rtl="0" eaLnBrk="0" fontAlgn="base" hangingPunct="0">
        <a:spcBef>
          <a:spcPct val="0"/>
        </a:spcBef>
        <a:spcAft>
          <a:spcPct val="0"/>
        </a:spcAft>
        <a:buClr>
          <a:srgbClr val="000000"/>
        </a:buClr>
        <a:buSzPct val="100000"/>
        <a:buFont typeface="Times New Roman" pitchFamily="16" charset="0"/>
        <a:defRPr sz="2800">
          <a:solidFill>
            <a:srgbClr val="000000"/>
          </a:solidFill>
          <a:latin typeface="Arial" charset="0"/>
          <a:cs typeface="Arial Unicode MS" charset="0"/>
        </a:defRPr>
      </a:lvl7pPr>
      <a:lvl8pPr marL="3428637" indent="-228576" algn="l" defTabSz="457152" rtl="0" eaLnBrk="0" fontAlgn="base" hangingPunct="0">
        <a:spcBef>
          <a:spcPct val="0"/>
        </a:spcBef>
        <a:spcAft>
          <a:spcPct val="0"/>
        </a:spcAft>
        <a:buClr>
          <a:srgbClr val="000000"/>
        </a:buClr>
        <a:buSzPct val="100000"/>
        <a:buFont typeface="Times New Roman" pitchFamily="16" charset="0"/>
        <a:defRPr sz="2800">
          <a:solidFill>
            <a:srgbClr val="000000"/>
          </a:solidFill>
          <a:latin typeface="Arial" charset="0"/>
          <a:cs typeface="Arial Unicode MS" charset="0"/>
        </a:defRPr>
      </a:lvl8pPr>
      <a:lvl9pPr marL="3885788" indent="-228576" algn="l" defTabSz="457152" rtl="0" eaLnBrk="0" fontAlgn="base" hangingPunct="0">
        <a:spcBef>
          <a:spcPct val="0"/>
        </a:spcBef>
        <a:spcAft>
          <a:spcPct val="0"/>
        </a:spcAft>
        <a:buClr>
          <a:srgbClr val="000000"/>
        </a:buClr>
        <a:buSzPct val="100000"/>
        <a:buFont typeface="Times New Roman" pitchFamily="16" charset="0"/>
        <a:defRPr sz="2800">
          <a:solidFill>
            <a:srgbClr val="000000"/>
          </a:solidFill>
          <a:latin typeface="Arial" charset="0"/>
          <a:cs typeface="Arial Unicode MS" charset="0"/>
        </a:defRPr>
      </a:lvl9pPr>
    </p:titleStyle>
    <p:bodyStyle>
      <a:lvl1pPr marL="341313" indent="-341313" algn="l" defTabSz="455613" rtl="0" eaLnBrk="0" fontAlgn="base" hangingPunct="0">
        <a:spcBef>
          <a:spcPts val="600"/>
        </a:spcBef>
        <a:spcAft>
          <a:spcPct val="0"/>
        </a:spcAft>
        <a:buClr>
          <a:srgbClr val="000000"/>
        </a:buClr>
        <a:buSzPct val="100000"/>
        <a:buFont typeface="Times New Roman" pitchFamily="18" charset="0"/>
        <a:buChar char="•"/>
        <a:defRPr sz="2400">
          <a:solidFill>
            <a:srgbClr val="000000"/>
          </a:solidFill>
          <a:latin typeface="+mn-lt"/>
          <a:ea typeface="Arial Unicode MS" pitchFamily="34" charset="-128"/>
          <a:cs typeface="Arial Unicode MS" pitchFamily="34" charset="-128"/>
        </a:defRPr>
      </a:lvl1pPr>
      <a:lvl2pPr marL="741363" indent="-284163" algn="l" defTabSz="455613" rtl="0" eaLnBrk="0" fontAlgn="base" hangingPunct="0">
        <a:spcBef>
          <a:spcPts val="550"/>
        </a:spcBef>
        <a:spcAft>
          <a:spcPct val="0"/>
        </a:spcAft>
        <a:buClr>
          <a:srgbClr val="000000"/>
        </a:buClr>
        <a:buSzPct val="100000"/>
        <a:buFont typeface="Times New Roman" pitchFamily="18" charset="0"/>
        <a:buChar char="–"/>
        <a:defRPr sz="2200">
          <a:solidFill>
            <a:srgbClr val="000000"/>
          </a:solidFill>
          <a:latin typeface="+mn-lt"/>
          <a:ea typeface="Arial Unicode MS" pitchFamily="34" charset="-128"/>
          <a:cs typeface="Arial Unicode MS" pitchFamily="34" charset="-128"/>
        </a:defRPr>
      </a:lvl2pPr>
      <a:lvl3pPr marL="1141413" indent="-227013" algn="l" defTabSz="455613" rtl="0" eaLnBrk="0" fontAlgn="base" hangingPunct="0">
        <a:spcBef>
          <a:spcPts val="500"/>
        </a:spcBef>
        <a:spcAft>
          <a:spcPct val="0"/>
        </a:spcAft>
        <a:buClr>
          <a:srgbClr val="000000"/>
        </a:buClr>
        <a:buSzPct val="100000"/>
        <a:buFont typeface="Times New Roman" pitchFamily="18" charset="0"/>
        <a:buChar char="•"/>
        <a:defRPr sz="2000">
          <a:solidFill>
            <a:srgbClr val="000000"/>
          </a:solidFill>
          <a:latin typeface="+mn-lt"/>
          <a:ea typeface="Arial Unicode MS" pitchFamily="34" charset="-128"/>
          <a:cs typeface="Arial Unicode MS" pitchFamily="34" charset="-128"/>
        </a:defRPr>
      </a:lvl3pPr>
      <a:lvl4pPr marL="1598613" indent="-227013" algn="l" defTabSz="455613" rtl="0" eaLnBrk="0" fontAlgn="base" hangingPunct="0">
        <a:spcBef>
          <a:spcPts val="500"/>
        </a:spcBef>
        <a:spcAft>
          <a:spcPct val="0"/>
        </a:spcAft>
        <a:buClr>
          <a:srgbClr val="000000"/>
        </a:buClr>
        <a:buSzPct val="100000"/>
        <a:buFont typeface="Times New Roman" pitchFamily="18" charset="0"/>
        <a:buChar char="–"/>
        <a:defRPr sz="2000">
          <a:solidFill>
            <a:srgbClr val="000000"/>
          </a:solidFill>
          <a:latin typeface="+mn-lt"/>
          <a:ea typeface="Arial Unicode MS" pitchFamily="34" charset="-128"/>
          <a:cs typeface="Arial Unicode MS" pitchFamily="34" charset="-128"/>
        </a:defRPr>
      </a:lvl4pPr>
      <a:lvl5pPr marL="2055813" indent="-227013" algn="l" defTabSz="455613" rtl="0" eaLnBrk="0" fontAlgn="base" hangingPunct="0">
        <a:spcBef>
          <a:spcPts val="500"/>
        </a:spcBef>
        <a:spcAft>
          <a:spcPct val="0"/>
        </a:spcAft>
        <a:buClr>
          <a:srgbClr val="000000"/>
        </a:buClr>
        <a:buSzPct val="100000"/>
        <a:buFont typeface="Times New Roman" pitchFamily="18" charset="0"/>
        <a:buChar char="»"/>
        <a:defRPr sz="2000">
          <a:solidFill>
            <a:srgbClr val="000000"/>
          </a:solidFill>
          <a:latin typeface="+mn-lt"/>
          <a:ea typeface="Arial Unicode MS" pitchFamily="34" charset="-128"/>
          <a:cs typeface="Arial Unicode MS" pitchFamily="34" charset="-128"/>
        </a:defRPr>
      </a:lvl5pPr>
      <a:lvl6pPr marL="2514333" indent="-228576" algn="l" defTabSz="457152" rtl="0" eaLnBrk="0" fontAlgn="base" hangingPunct="0">
        <a:spcBef>
          <a:spcPts val="500"/>
        </a:spcBef>
        <a:spcAft>
          <a:spcPct val="0"/>
        </a:spcAft>
        <a:buClr>
          <a:srgbClr val="000000"/>
        </a:buClr>
        <a:buSzPct val="100000"/>
        <a:buFont typeface="Times New Roman" pitchFamily="16" charset="0"/>
        <a:defRPr sz="2000">
          <a:solidFill>
            <a:srgbClr val="000000"/>
          </a:solidFill>
          <a:latin typeface="+mn-lt"/>
          <a:cs typeface="+mn-cs"/>
        </a:defRPr>
      </a:lvl6pPr>
      <a:lvl7pPr marL="2971485" indent="-228576" algn="l" defTabSz="457152" rtl="0" eaLnBrk="0" fontAlgn="base" hangingPunct="0">
        <a:spcBef>
          <a:spcPts val="500"/>
        </a:spcBef>
        <a:spcAft>
          <a:spcPct val="0"/>
        </a:spcAft>
        <a:buClr>
          <a:srgbClr val="000000"/>
        </a:buClr>
        <a:buSzPct val="100000"/>
        <a:buFont typeface="Times New Roman" pitchFamily="16" charset="0"/>
        <a:defRPr sz="2000">
          <a:solidFill>
            <a:srgbClr val="000000"/>
          </a:solidFill>
          <a:latin typeface="+mn-lt"/>
          <a:cs typeface="+mn-cs"/>
        </a:defRPr>
      </a:lvl7pPr>
      <a:lvl8pPr marL="3428637" indent="-228576" algn="l" defTabSz="457152" rtl="0" eaLnBrk="0" fontAlgn="base" hangingPunct="0">
        <a:spcBef>
          <a:spcPts val="500"/>
        </a:spcBef>
        <a:spcAft>
          <a:spcPct val="0"/>
        </a:spcAft>
        <a:buClr>
          <a:srgbClr val="000000"/>
        </a:buClr>
        <a:buSzPct val="100000"/>
        <a:buFont typeface="Times New Roman" pitchFamily="16" charset="0"/>
        <a:defRPr sz="2000">
          <a:solidFill>
            <a:srgbClr val="000000"/>
          </a:solidFill>
          <a:latin typeface="+mn-lt"/>
          <a:cs typeface="+mn-cs"/>
        </a:defRPr>
      </a:lvl8pPr>
      <a:lvl9pPr marL="3885788" indent="-228576" algn="l" defTabSz="457152" rtl="0" eaLnBrk="0" fontAlgn="base" hangingPunct="0">
        <a:spcBef>
          <a:spcPts val="500"/>
        </a:spcBef>
        <a:spcAft>
          <a:spcPct val="0"/>
        </a:spcAft>
        <a:buClr>
          <a:srgbClr val="000000"/>
        </a:buClr>
        <a:buSzPct val="100000"/>
        <a:buFont typeface="Times New Roman" pitchFamily="16" charset="0"/>
        <a:defRPr sz="2000">
          <a:solidFill>
            <a:srgbClr val="000000"/>
          </a:solidFill>
          <a:latin typeface="+mn-lt"/>
          <a:cs typeface="+mn-cs"/>
        </a:defRPr>
      </a:lvl9pPr>
    </p:bodyStyle>
    <p:otherStyle>
      <a:defPPr>
        <a:defRPr lang="en-US"/>
      </a:defPPr>
      <a:lvl1pPr marL="0" algn="l" defTabSz="914303" rtl="0" eaLnBrk="1" latinLnBrk="0" hangingPunct="1">
        <a:defRPr sz="1800" kern="1200">
          <a:solidFill>
            <a:schemeClr val="tx1"/>
          </a:solidFill>
          <a:latin typeface="+mn-lt"/>
          <a:ea typeface="+mn-ea"/>
          <a:cs typeface="+mn-cs"/>
        </a:defRPr>
      </a:lvl1pPr>
      <a:lvl2pPr marL="457152" algn="l" defTabSz="914303" rtl="0" eaLnBrk="1" latinLnBrk="0" hangingPunct="1">
        <a:defRPr sz="1800" kern="1200">
          <a:solidFill>
            <a:schemeClr val="tx1"/>
          </a:solidFill>
          <a:latin typeface="+mn-lt"/>
          <a:ea typeface="+mn-ea"/>
          <a:cs typeface="+mn-cs"/>
        </a:defRPr>
      </a:lvl2pPr>
      <a:lvl3pPr marL="914303" algn="l" defTabSz="914303" rtl="0" eaLnBrk="1" latinLnBrk="0" hangingPunct="1">
        <a:defRPr sz="1800" kern="1200">
          <a:solidFill>
            <a:schemeClr val="tx1"/>
          </a:solidFill>
          <a:latin typeface="+mn-lt"/>
          <a:ea typeface="+mn-ea"/>
          <a:cs typeface="+mn-cs"/>
        </a:defRPr>
      </a:lvl3pPr>
      <a:lvl4pPr marL="1371455" algn="l" defTabSz="914303" rtl="0" eaLnBrk="1" latinLnBrk="0" hangingPunct="1">
        <a:defRPr sz="1800" kern="1200">
          <a:solidFill>
            <a:schemeClr val="tx1"/>
          </a:solidFill>
          <a:latin typeface="+mn-lt"/>
          <a:ea typeface="+mn-ea"/>
          <a:cs typeface="+mn-cs"/>
        </a:defRPr>
      </a:lvl4pPr>
      <a:lvl5pPr marL="1828606" algn="l" defTabSz="914303" rtl="0" eaLnBrk="1" latinLnBrk="0" hangingPunct="1">
        <a:defRPr sz="1800" kern="1200">
          <a:solidFill>
            <a:schemeClr val="tx1"/>
          </a:solidFill>
          <a:latin typeface="+mn-lt"/>
          <a:ea typeface="+mn-ea"/>
          <a:cs typeface="+mn-cs"/>
        </a:defRPr>
      </a:lvl5pPr>
      <a:lvl6pPr marL="2285758" algn="l" defTabSz="914303" rtl="0" eaLnBrk="1" latinLnBrk="0" hangingPunct="1">
        <a:defRPr sz="1800" kern="1200">
          <a:solidFill>
            <a:schemeClr val="tx1"/>
          </a:solidFill>
          <a:latin typeface="+mn-lt"/>
          <a:ea typeface="+mn-ea"/>
          <a:cs typeface="+mn-cs"/>
        </a:defRPr>
      </a:lvl6pPr>
      <a:lvl7pPr marL="2742909" algn="l" defTabSz="914303" rtl="0" eaLnBrk="1" latinLnBrk="0" hangingPunct="1">
        <a:defRPr sz="1800" kern="1200">
          <a:solidFill>
            <a:schemeClr val="tx1"/>
          </a:solidFill>
          <a:latin typeface="+mn-lt"/>
          <a:ea typeface="+mn-ea"/>
          <a:cs typeface="+mn-cs"/>
        </a:defRPr>
      </a:lvl7pPr>
      <a:lvl8pPr marL="3200061" algn="l" defTabSz="914303" rtl="0" eaLnBrk="1" latinLnBrk="0" hangingPunct="1">
        <a:defRPr sz="1800" kern="1200">
          <a:solidFill>
            <a:schemeClr val="tx1"/>
          </a:solidFill>
          <a:latin typeface="+mn-lt"/>
          <a:ea typeface="+mn-ea"/>
          <a:cs typeface="+mn-cs"/>
        </a:defRPr>
      </a:lvl8pPr>
      <a:lvl9pPr marL="3657212" algn="l" defTabSz="914303"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8.png"/><Relationship Id="rId13" Type="http://schemas.openxmlformats.org/officeDocument/2006/relationships/image" Target="../media/image12.png"/><Relationship Id="rId3" Type="http://schemas.openxmlformats.org/officeDocument/2006/relationships/slideLayout" Target="../slideLayouts/slideLayout1.xml"/><Relationship Id="rId7" Type="http://schemas.openxmlformats.org/officeDocument/2006/relationships/image" Target="../media/image7.jpeg"/><Relationship Id="rId12" Type="http://schemas.openxmlformats.org/officeDocument/2006/relationships/image" Target="../media/image11.jpeg"/><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6.jpeg"/><Relationship Id="rId11" Type="http://schemas.openxmlformats.org/officeDocument/2006/relationships/image" Target="../media/image10.jpeg"/><Relationship Id="rId5" Type="http://schemas.openxmlformats.org/officeDocument/2006/relationships/oleObject" Target="../embeddings/oleObject1.bin"/><Relationship Id="rId10" Type="http://schemas.openxmlformats.org/officeDocument/2006/relationships/image" Target="../media/image9.jpeg"/><Relationship Id="rId4" Type="http://schemas.openxmlformats.org/officeDocument/2006/relationships/notesSlide" Target="../notesSlides/notesSlide1.xml"/><Relationship Id="rId9" Type="http://schemas.microsoft.com/office/2007/relationships/hdphoto" Target="../media/hdphoto1.wdp"/></Relationships>
</file>

<file path=ppt/slides/_rels/slide10.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notesSlide" Target="../notesSlides/notesSlide4.xml"/><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5.xml"/><Relationship Id="rId1" Type="http://schemas.openxmlformats.org/officeDocument/2006/relationships/slideLayout" Target="../slideLayouts/slideLayout1.xml"/></Relationships>
</file>

<file path=ppt/slides/_rels/slide12.xml.rels><?xml version="1.0" encoding="UTF-8" standalone="yes"?>
<Relationships xmlns="http://schemas.openxmlformats.org/package/2006/relationships"><Relationship Id="rId3" Type="http://schemas.openxmlformats.org/officeDocument/2006/relationships/image" Target="../media/image27.jpeg"/><Relationship Id="rId2" Type="http://schemas.openxmlformats.org/officeDocument/2006/relationships/notesSlide" Target="../notesSlides/notesSlide6.xml"/><Relationship Id="rId1" Type="http://schemas.openxmlformats.org/officeDocument/2006/relationships/slideLayout" Target="../slideLayouts/slideLayout1.xml"/></Relationships>
</file>

<file path=ppt/slides/_rels/slide13.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notesSlide" Target="../notesSlides/notesSlide7.xml"/><Relationship Id="rId1" Type="http://schemas.openxmlformats.org/officeDocument/2006/relationships/slideLayout" Target="../slideLayouts/slideLayout1.xml"/></Relationships>
</file>

<file path=ppt/slides/_rels/slide14.xml.rels><?xml version="1.0" encoding="UTF-8" standalone="yes"?>
<Relationships xmlns="http://schemas.openxmlformats.org/package/2006/relationships"><Relationship Id="rId8" Type="http://schemas.openxmlformats.org/officeDocument/2006/relationships/image" Target="../media/image34.jpeg"/><Relationship Id="rId3" Type="http://schemas.openxmlformats.org/officeDocument/2006/relationships/image" Target="../media/image29.jpeg"/><Relationship Id="rId7" Type="http://schemas.openxmlformats.org/officeDocument/2006/relationships/image" Target="../media/image33.jpeg"/><Relationship Id="rId2" Type="http://schemas.openxmlformats.org/officeDocument/2006/relationships/notesSlide" Target="../notesSlides/notesSlide8.xml"/><Relationship Id="rId1" Type="http://schemas.openxmlformats.org/officeDocument/2006/relationships/slideLayout" Target="../slideLayouts/slideLayout6.xml"/><Relationship Id="rId6" Type="http://schemas.openxmlformats.org/officeDocument/2006/relationships/image" Target="../media/image32.jpeg"/><Relationship Id="rId5" Type="http://schemas.openxmlformats.org/officeDocument/2006/relationships/image" Target="../media/image31.jpeg"/><Relationship Id="rId4" Type="http://schemas.openxmlformats.org/officeDocument/2006/relationships/image" Target="../media/image30.jpeg"/><Relationship Id="rId9" Type="http://schemas.openxmlformats.org/officeDocument/2006/relationships/image" Target="../media/image35.jpeg"/></Relationships>
</file>

<file path=ppt/slides/_rels/slide15.xml.rels><?xml version="1.0" encoding="UTF-8" standalone="yes"?>
<Relationships xmlns="http://schemas.openxmlformats.org/package/2006/relationships"><Relationship Id="rId3" Type="http://schemas.openxmlformats.org/officeDocument/2006/relationships/image" Target="../media/image36.jpeg"/><Relationship Id="rId2" Type="http://schemas.openxmlformats.org/officeDocument/2006/relationships/notesSlide" Target="../notesSlides/notesSlide9.xml"/><Relationship Id="rId1" Type="http://schemas.openxmlformats.org/officeDocument/2006/relationships/slideLayout" Target="../slideLayouts/slideLayout2.xml"/><Relationship Id="rId4" Type="http://schemas.openxmlformats.org/officeDocument/2006/relationships/image" Target="../media/image37.jpeg"/></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0.xml"/><Relationship Id="rId7" Type="http://schemas.openxmlformats.org/officeDocument/2006/relationships/image" Target="../media/image39.emf"/><Relationship Id="rId2" Type="http://schemas.openxmlformats.org/officeDocument/2006/relationships/slideLayout" Target="../slideLayouts/slideLayout4.xml"/><Relationship Id="rId1" Type="http://schemas.openxmlformats.org/officeDocument/2006/relationships/vmlDrawing" Target="../drawings/vmlDrawing2.vml"/><Relationship Id="rId6" Type="http://schemas.openxmlformats.org/officeDocument/2006/relationships/oleObject" Target="../embeddings/oleObject3.bin"/><Relationship Id="rId5" Type="http://schemas.openxmlformats.org/officeDocument/2006/relationships/image" Target="../media/image38.emf"/><Relationship Id="rId4" Type="http://schemas.openxmlformats.org/officeDocument/2006/relationships/oleObject" Target="../embeddings/oleObject2.bin"/></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11.xml"/><Relationship Id="rId1" Type="http://schemas.openxmlformats.org/officeDocument/2006/relationships/slideLayout" Target="../slideLayouts/slideLayout6.xml"/></Relationships>
</file>

<file path=ppt/slides/_rels/slide19.xml.rels><?xml version="1.0" encoding="UTF-8" standalone="yes"?>
<Relationships xmlns="http://schemas.openxmlformats.org/package/2006/relationships"><Relationship Id="rId3" Type="http://schemas.openxmlformats.org/officeDocument/2006/relationships/image" Target="../media/image41.jpeg"/><Relationship Id="rId2" Type="http://schemas.openxmlformats.org/officeDocument/2006/relationships/notesSlide" Target="../notesSlides/notesSlide12.xml"/><Relationship Id="rId1" Type="http://schemas.openxmlformats.org/officeDocument/2006/relationships/slideLayout" Target="../slideLayouts/slideLayout12.xml"/><Relationship Id="rId6" Type="http://schemas.openxmlformats.org/officeDocument/2006/relationships/image" Target="../media/image44.jpeg"/><Relationship Id="rId5" Type="http://schemas.openxmlformats.org/officeDocument/2006/relationships/image" Target="../media/image43.JPG"/><Relationship Id="rId4" Type="http://schemas.openxmlformats.org/officeDocument/2006/relationships/image" Target="../media/image42.jp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45.png"/><Relationship Id="rId1" Type="http://schemas.openxmlformats.org/officeDocument/2006/relationships/slideLayout" Target="../slideLayouts/slideLayout12.xml"/><Relationship Id="rId5" Type="http://schemas.openxmlformats.org/officeDocument/2006/relationships/image" Target="../media/image48.png"/><Relationship Id="rId4" Type="http://schemas.openxmlformats.org/officeDocument/2006/relationships/image" Target="../media/image47.png"/></Relationships>
</file>

<file path=ppt/slides/_rels/slide21.xml.rels><?xml version="1.0" encoding="UTF-8" standalone="yes"?>
<Relationships xmlns="http://schemas.openxmlformats.org/package/2006/relationships"><Relationship Id="rId8" Type="http://schemas.openxmlformats.org/officeDocument/2006/relationships/image" Target="../media/image54.jpeg"/><Relationship Id="rId13" Type="http://schemas.openxmlformats.org/officeDocument/2006/relationships/image" Target="../media/image59.jpeg"/><Relationship Id="rId3" Type="http://schemas.openxmlformats.org/officeDocument/2006/relationships/image" Target="../media/image49.jpeg"/><Relationship Id="rId7" Type="http://schemas.openxmlformats.org/officeDocument/2006/relationships/image" Target="../media/image53.jpeg"/><Relationship Id="rId12" Type="http://schemas.openxmlformats.org/officeDocument/2006/relationships/image" Target="../media/image58.jpeg"/><Relationship Id="rId2" Type="http://schemas.openxmlformats.org/officeDocument/2006/relationships/notesSlide" Target="../notesSlides/notesSlide13.xml"/><Relationship Id="rId1" Type="http://schemas.openxmlformats.org/officeDocument/2006/relationships/slideLayout" Target="../slideLayouts/slideLayout6.xml"/><Relationship Id="rId6" Type="http://schemas.openxmlformats.org/officeDocument/2006/relationships/image" Target="../media/image52.jpeg"/><Relationship Id="rId11" Type="http://schemas.openxmlformats.org/officeDocument/2006/relationships/image" Target="../media/image57.jpeg"/><Relationship Id="rId5" Type="http://schemas.openxmlformats.org/officeDocument/2006/relationships/image" Target="../media/image51.jpeg"/><Relationship Id="rId10" Type="http://schemas.openxmlformats.org/officeDocument/2006/relationships/image" Target="../media/image56.jpeg"/><Relationship Id="rId4" Type="http://schemas.openxmlformats.org/officeDocument/2006/relationships/image" Target="../media/image50.jpeg"/><Relationship Id="rId9" Type="http://schemas.openxmlformats.org/officeDocument/2006/relationships/image" Target="../media/image55.jpeg"/></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2.xml"/><Relationship Id="rId1" Type="http://schemas.openxmlformats.org/officeDocument/2006/relationships/vmlDrawing" Target="../drawings/vmlDrawing3.vml"/><Relationship Id="rId5" Type="http://schemas.openxmlformats.org/officeDocument/2006/relationships/image" Target="../media/image60.png"/><Relationship Id="rId4" Type="http://schemas.openxmlformats.org/officeDocument/2006/relationships/oleObject" Target="../embeddings/oleObject4.bin"/></Relationships>
</file>

<file path=ppt/slides/_rels/slide24.xml.rels><?xml version="1.0" encoding="UTF-8" standalone="yes"?>
<Relationships xmlns="http://schemas.openxmlformats.org/package/2006/relationships"><Relationship Id="rId3" Type="http://schemas.openxmlformats.org/officeDocument/2006/relationships/image" Target="../media/image61.jpeg"/><Relationship Id="rId2" Type="http://schemas.openxmlformats.org/officeDocument/2006/relationships/hyperlink" Target="0%20Intro%20&amp;%20Preso%20Launcher.ppt#-1,3,Slide 3" TargetMode="External"/><Relationship Id="rId1" Type="http://schemas.openxmlformats.org/officeDocument/2006/relationships/slideLayout" Target="../slideLayouts/slideLayout1.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6.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7.xml"/><Relationship Id="rId1" Type="http://schemas.openxmlformats.org/officeDocument/2006/relationships/vmlDrawing" Target="../drawings/vmlDrawing4.vml"/><Relationship Id="rId4" Type="http://schemas.openxmlformats.org/officeDocument/2006/relationships/image" Target="../media/image62.png"/></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15.xml"/><Relationship Id="rId7" Type="http://schemas.openxmlformats.org/officeDocument/2006/relationships/image" Target="../media/image63.png"/><Relationship Id="rId2" Type="http://schemas.openxmlformats.org/officeDocument/2006/relationships/slideLayout" Target="../slideLayouts/slideLayout1.xml"/><Relationship Id="rId1" Type="http://schemas.openxmlformats.org/officeDocument/2006/relationships/vmlDrawing" Target="../drawings/vmlDrawing5.vml"/><Relationship Id="rId6" Type="http://schemas.openxmlformats.org/officeDocument/2006/relationships/oleObject" Target="../embeddings/oleObject6.bin"/><Relationship Id="rId5" Type="http://schemas.openxmlformats.org/officeDocument/2006/relationships/image" Target="../media/image65.png"/><Relationship Id="rId4" Type="http://schemas.openxmlformats.org/officeDocument/2006/relationships/image" Target="../media/image64.jpeg"/></Relationships>
</file>

<file path=ppt/slides/_rels/slide28.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image" Target="../media/image66.png"/><Relationship Id="rId1" Type="http://schemas.openxmlformats.org/officeDocument/2006/relationships/slideLayout" Target="../slideLayouts/slideLayout12.xml"/><Relationship Id="rId4" Type="http://schemas.openxmlformats.org/officeDocument/2006/relationships/image" Target="../media/image68.png"/></Relationships>
</file>

<file path=ppt/slides/_rels/slide29.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image" Target="../media/image69.jpeg"/><Relationship Id="rId1" Type="http://schemas.openxmlformats.org/officeDocument/2006/relationships/slideLayout" Target="../slideLayouts/slideLayout12.xml"/><Relationship Id="rId4" Type="http://schemas.openxmlformats.org/officeDocument/2006/relationships/image" Target="../media/image71.jpeg"/></Relationships>
</file>

<file path=ppt/slides/_rels/slide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13.xml"/></Relationships>
</file>

<file path=ppt/slides/_rels/slide30.xml.rels><?xml version="1.0" encoding="UTF-8" standalone="yes"?>
<Relationships xmlns="http://schemas.openxmlformats.org/package/2006/relationships"><Relationship Id="rId2" Type="http://schemas.openxmlformats.org/officeDocument/2006/relationships/image" Target="../media/image72.png"/><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image" Target="../media/image14.jpeg"/><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image" Target="../media/image18.jpeg"/><Relationship Id="rId1" Type="http://schemas.openxmlformats.org/officeDocument/2006/relationships/slideLayout" Target="../slideLayouts/slideLayout7.xml"/><Relationship Id="rId6" Type="http://schemas.openxmlformats.org/officeDocument/2006/relationships/image" Target="../media/image22.jpeg"/><Relationship Id="rId5" Type="http://schemas.openxmlformats.org/officeDocument/2006/relationships/image" Target="../media/image21.jpeg"/><Relationship Id="rId4" Type="http://schemas.openxmlformats.org/officeDocument/2006/relationships/image" Target="../media/image20.jpeg"/></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notesSlide" Target="../notesSlides/notesSlide2.xml"/><Relationship Id="rId1" Type="http://schemas.openxmlformats.org/officeDocument/2006/relationships/slideLayout" Target="../slideLayouts/slideLayout1.xml"/><Relationship Id="rId5" Type="http://schemas.openxmlformats.org/officeDocument/2006/relationships/image" Target="../media/image25.png"/><Relationship Id="rId4" Type="http://schemas.openxmlformats.org/officeDocument/2006/relationships/image" Target="../media/image24.png"/></Relationships>
</file>

<file path=ppt/slides/_rels/slide9.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3.xml"/><Relationship Id="rId1" Type="http://schemas.openxmlformats.org/officeDocument/2006/relationships/slideLayout" Target="../slideLayouts/slideLayout1.xml"/><Relationship Id="rId4" Type="http://schemas.openxmlformats.org/officeDocument/2006/relationships/image" Target="../media/image26.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218" name="Rectangle 50" hidden="1"/>
          <p:cNvGraphicFramePr>
            <a:graphicFrameLocks/>
          </p:cNvGraphicFramePr>
          <p:nvPr>
            <p:custDataLst>
              <p:tags r:id="rId2"/>
            </p:custDataLst>
          </p:nvPr>
        </p:nvGraphicFramePr>
        <p:xfrm>
          <a:off x="0" y="0"/>
          <a:ext cx="161984" cy="161974"/>
        </p:xfrm>
        <a:graphic>
          <a:graphicData uri="http://schemas.openxmlformats.org/presentationml/2006/ole">
            <mc:AlternateContent xmlns:mc="http://schemas.openxmlformats.org/markup-compatibility/2006">
              <mc:Choice xmlns:v="urn:schemas-microsoft-com:vml" Requires="v">
                <p:oleObj spid="_x0000_s2086" name="think-cell Slide" r:id="rId5" imgW="0" imgH="0" progId="TCLayout.ActiveDocument.1">
                  <p:embed/>
                </p:oleObj>
              </mc:Choice>
              <mc:Fallback>
                <p:oleObj name="think-cell Slide" r:id="rId5" imgW="0" imgH="0" progId="TCLayout.ActiveDocument.1">
                  <p:embed/>
                  <p:pic>
                    <p:nvPicPr>
                      <p:cNvPr id="0" name=""/>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61984" cy="161974"/>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3" name="Title 3"/>
          <p:cNvSpPr txBox="1">
            <a:spLocks/>
          </p:cNvSpPr>
          <p:nvPr/>
        </p:nvSpPr>
        <p:spPr>
          <a:xfrm>
            <a:off x="216024" y="984444"/>
            <a:ext cx="8676456" cy="1274195"/>
          </a:xfrm>
          <a:prstGeom prst="rect">
            <a:avLst/>
          </a:prstGeom>
        </p:spPr>
        <p:txBody>
          <a:bodyPr vert="horz" wrap="square" lIns="91440" tIns="45720" rIns="91440" bIns="45720" rtlCol="0" anchor="ctr">
            <a:spAutoFit/>
          </a:bodyPr>
          <a:lstStyle>
            <a:lvl1pPr algn="r" defTabSz="914400" rtl="0" eaLnBrk="1" latinLnBrk="0" hangingPunct="1">
              <a:spcBef>
                <a:spcPct val="0"/>
              </a:spcBef>
              <a:buNone/>
              <a:defRPr sz="4000" kern="1200">
                <a:solidFill>
                  <a:schemeClr val="accent2">
                    <a:lumMod val="75000"/>
                  </a:schemeClr>
                </a:solidFill>
                <a:latin typeface="+mj-lt"/>
                <a:ea typeface="+mj-ea"/>
                <a:cs typeface="+mj-cs"/>
              </a:defRPr>
            </a:lvl1pPr>
          </a:lstStyle>
          <a:p>
            <a:pPr algn="ctr">
              <a:lnSpc>
                <a:spcPct val="80000"/>
              </a:lnSpc>
              <a:defRPr/>
            </a:pPr>
            <a:r>
              <a:rPr lang="en-US" sz="3200" b="1" dirty="0" smtClean="0">
                <a:solidFill>
                  <a:srgbClr val="0033CC"/>
                </a:solidFill>
                <a:cs typeface="Calibri" pitchFamily="34" charset="0"/>
              </a:rPr>
              <a:t> </a:t>
            </a:r>
          </a:p>
          <a:p>
            <a:pPr algn="ctr">
              <a:lnSpc>
                <a:spcPct val="80000"/>
              </a:lnSpc>
              <a:defRPr/>
            </a:pPr>
            <a:r>
              <a:rPr lang="en-US" sz="3200" b="1" dirty="0" smtClean="0">
                <a:solidFill>
                  <a:srgbClr val="0033CC"/>
                </a:solidFill>
                <a:cs typeface="Calibri" pitchFamily="34" charset="0"/>
              </a:rPr>
              <a:t>OPENCAST MINING EQUIPMENT TECHNOLOGY TRENDS</a:t>
            </a:r>
          </a:p>
        </p:txBody>
      </p:sp>
      <p:sp>
        <p:nvSpPr>
          <p:cNvPr id="4" name="Subtitle 4"/>
          <p:cNvSpPr txBox="1">
            <a:spLocks/>
          </p:cNvSpPr>
          <p:nvPr/>
        </p:nvSpPr>
        <p:spPr>
          <a:xfrm>
            <a:off x="1143000" y="6284690"/>
            <a:ext cx="6858000" cy="294183"/>
          </a:xfrm>
          <a:prstGeom prst="rect">
            <a:avLst/>
          </a:prstGeom>
        </p:spPr>
        <p:txBody>
          <a:bodyPr vert="horz" wrap="square" lIns="91440" tIns="45720" rIns="91440" bIns="45720" rtlCol="0">
            <a:spAutoFit/>
          </a:bodyPr>
          <a:lstStyle>
            <a:lvl1pPr marL="0" indent="0" algn="r" defTabSz="914400" rtl="0" eaLnBrk="1" latinLnBrk="0" hangingPunct="1">
              <a:spcBef>
                <a:spcPct val="20000"/>
              </a:spcBef>
              <a:buFont typeface="Arial" pitchFamily="34" charset="0"/>
              <a:buNone/>
              <a:defRPr sz="2400" kern="1200">
                <a:solidFill>
                  <a:schemeClr val="accent1">
                    <a:lumMod val="75000"/>
                  </a:schemeClr>
                </a:solidFill>
                <a:latin typeface="+mn-lt"/>
                <a:ea typeface="+mn-ea"/>
                <a:cs typeface="+mn-cs"/>
              </a:defRPr>
            </a:lvl1pPr>
            <a:lvl2pPr marL="4572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2pPr>
            <a:lvl3pPr marL="914400" indent="0" algn="ctr" defTabSz="914400" rtl="0" eaLnBrk="1" latinLnBrk="0" hangingPunct="1">
              <a:spcBef>
                <a:spcPct val="20000"/>
              </a:spcBef>
              <a:buFont typeface="Arial" pitchFamily="34" charset="0"/>
              <a:buNone/>
              <a:defRPr sz="1800" kern="1200">
                <a:solidFill>
                  <a:schemeClr val="tx1">
                    <a:tint val="75000"/>
                  </a:schemeClr>
                </a:solidFill>
                <a:latin typeface="+mn-lt"/>
                <a:ea typeface="+mn-ea"/>
                <a:cs typeface="+mn-cs"/>
              </a:defRPr>
            </a:lvl3pPr>
            <a:lvl4pPr marL="1371600" indent="0" algn="ctr" defTabSz="914400" rtl="0" eaLnBrk="1" latinLnBrk="0" hangingPunct="1">
              <a:spcBef>
                <a:spcPct val="20000"/>
              </a:spcBef>
              <a:buFont typeface="Arial" pitchFamily="34" charset="0"/>
              <a:buNone/>
              <a:defRPr sz="1600" kern="1200">
                <a:solidFill>
                  <a:schemeClr val="tx1">
                    <a:tint val="75000"/>
                  </a:schemeClr>
                </a:solidFill>
                <a:latin typeface="+mn-lt"/>
                <a:ea typeface="+mn-ea"/>
                <a:cs typeface="+mn-cs"/>
              </a:defRPr>
            </a:lvl4pPr>
            <a:lvl5pPr marL="1828800" indent="0" algn="ctr" defTabSz="914400" rtl="0" eaLnBrk="1" latinLnBrk="0" hangingPunct="1">
              <a:spcBef>
                <a:spcPct val="20000"/>
              </a:spcBef>
              <a:buFont typeface="Arial" pitchFamily="34" charset="0"/>
              <a:buNone/>
              <a:defRPr sz="1600" kern="1200">
                <a:solidFill>
                  <a:schemeClr val="tx1">
                    <a:tint val="75000"/>
                  </a:schemeClr>
                </a:solidFill>
                <a:latin typeface="+mn-lt"/>
                <a:ea typeface="+mn-ea"/>
                <a:cs typeface="+mn-cs"/>
              </a:defRPr>
            </a:lvl5pPr>
            <a:lvl6pPr marL="22860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pPr algn="ctr">
              <a:lnSpc>
                <a:spcPct val="80000"/>
              </a:lnSpc>
              <a:defRPr/>
            </a:pPr>
            <a:r>
              <a:rPr lang="en-US" sz="1600" b="1" dirty="0" smtClean="0">
                <a:solidFill>
                  <a:srgbClr val="000000">
                    <a:lumMod val="95000"/>
                    <a:lumOff val="5000"/>
                  </a:srgbClr>
                </a:solidFill>
              </a:rPr>
              <a:t>NOV</a:t>
            </a:r>
            <a:r>
              <a:rPr lang="en-US" sz="1600" b="1" dirty="0" smtClean="0">
                <a:solidFill>
                  <a:srgbClr val="000000">
                    <a:lumMod val="95000"/>
                    <a:lumOff val="5000"/>
                  </a:srgbClr>
                </a:solidFill>
              </a:rPr>
              <a:t> 12</a:t>
            </a:r>
            <a:r>
              <a:rPr lang="en-US" sz="1600" b="1" baseline="30000" dirty="0" smtClean="0">
                <a:solidFill>
                  <a:srgbClr val="000000">
                    <a:lumMod val="95000"/>
                    <a:lumOff val="5000"/>
                  </a:srgbClr>
                </a:solidFill>
              </a:rPr>
              <a:t>th</a:t>
            </a:r>
            <a:r>
              <a:rPr lang="en-US" sz="1600" b="1" dirty="0" smtClean="0">
                <a:solidFill>
                  <a:srgbClr val="000000">
                    <a:lumMod val="95000"/>
                    <a:lumOff val="5000"/>
                  </a:srgbClr>
                </a:solidFill>
              </a:rPr>
              <a:t> </a:t>
            </a:r>
            <a:r>
              <a:rPr lang="en-US" sz="1600" b="1" dirty="0" smtClean="0">
                <a:solidFill>
                  <a:srgbClr val="000000">
                    <a:lumMod val="95000"/>
                    <a:lumOff val="5000"/>
                  </a:srgbClr>
                </a:solidFill>
              </a:rPr>
              <a:t>, 2013 : New Delhi</a:t>
            </a:r>
            <a:endParaRPr lang="en-US" sz="1600" b="1" dirty="0">
              <a:solidFill>
                <a:srgbClr val="000000">
                  <a:lumMod val="95000"/>
                  <a:lumOff val="5000"/>
                </a:srgbClr>
              </a:solidFill>
            </a:endParaRPr>
          </a:p>
        </p:txBody>
      </p:sp>
      <p:sp>
        <p:nvSpPr>
          <p:cNvPr id="10" name="TextBox 9"/>
          <p:cNvSpPr txBox="1"/>
          <p:nvPr/>
        </p:nvSpPr>
        <p:spPr>
          <a:xfrm>
            <a:off x="99296" y="55416"/>
            <a:ext cx="4534200" cy="523220"/>
          </a:xfrm>
          <a:prstGeom prst="rect">
            <a:avLst/>
          </a:prstGeom>
          <a:noFill/>
        </p:spPr>
        <p:txBody>
          <a:bodyPr wrap="square" rtlCol="0">
            <a:spAutoFit/>
          </a:bodyPr>
          <a:lstStyle/>
          <a:p>
            <a:r>
              <a:rPr lang="en-US" sz="2800" b="1" i="1" dirty="0">
                <a:solidFill>
                  <a:srgbClr val="FFFFFF"/>
                </a:solidFill>
              </a:rPr>
              <a:t>LARSEN &amp; TOUBRO</a:t>
            </a:r>
            <a:endParaRPr lang="en-IN" sz="2800" b="1" i="1" dirty="0">
              <a:solidFill>
                <a:srgbClr val="FFFFFF"/>
              </a:solidFill>
            </a:endParaRPr>
          </a:p>
        </p:txBody>
      </p:sp>
      <p:grpSp>
        <p:nvGrpSpPr>
          <p:cNvPr id="11" name="Group 10"/>
          <p:cNvGrpSpPr/>
          <p:nvPr/>
        </p:nvGrpSpPr>
        <p:grpSpPr>
          <a:xfrm>
            <a:off x="2915816" y="3140968"/>
            <a:ext cx="4680520" cy="2808312"/>
            <a:chOff x="2981383" y="4051712"/>
            <a:chExt cx="4680520" cy="2808312"/>
          </a:xfrm>
        </p:grpSpPr>
        <p:pic>
          <p:nvPicPr>
            <p:cNvPr id="20" name="Picture 19"/>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2981383" y="4051712"/>
              <a:ext cx="1706880" cy="1280160"/>
            </a:xfrm>
            <a:prstGeom prst="rect">
              <a:avLst/>
            </a:prstGeom>
            <a:ln w="38100" cap="sq">
              <a:solidFill>
                <a:srgbClr val="000000"/>
              </a:solidFill>
              <a:prstDash val="solid"/>
              <a:miter lim="800000"/>
            </a:ln>
            <a:effectLst/>
          </p:spPr>
        </p:pic>
        <p:pic>
          <p:nvPicPr>
            <p:cNvPr id="21" name="Picture 5" descr="D:\DATA\Presentations\KAC_Presentation\Machine Photos - Low Res\D375\D375A-5_Tier_3_Cover_resize.jpg"/>
            <p:cNvPicPr>
              <a:picLocks noChangeAspect="1" noChangeArrowheads="1"/>
            </p:cNvPicPr>
            <p:nvPr/>
          </p:nvPicPr>
          <p:blipFill rotWithShape="1">
            <a:blip r:embed="rId7" cstate="email">
              <a:extLst>
                <a:ext uri="{28A0092B-C50C-407E-A947-70E740481C1C}">
                  <a14:useLocalDpi xmlns:a14="http://schemas.microsoft.com/office/drawing/2010/main"/>
                </a:ext>
              </a:extLst>
            </a:blip>
            <a:srcRect/>
            <a:stretch/>
          </p:blipFill>
          <p:spPr bwMode="auto">
            <a:xfrm>
              <a:off x="4332610" y="5563880"/>
              <a:ext cx="1529093" cy="1280160"/>
            </a:xfrm>
            <a:prstGeom prst="rect">
              <a:avLst/>
            </a:prstGeom>
            <a:ln w="38100" cap="sq">
              <a:solidFill>
                <a:srgbClr val="000000"/>
              </a:solidFill>
              <a:prstDash val="solid"/>
              <a:miter lim="800000"/>
            </a:ln>
            <a:effectLst/>
            <a:extLst>
              <a:ext uri="{909E8E84-426E-40DD-AFC4-6F175D3DCCD1}">
                <a14:hiddenFill xmlns:a14="http://schemas.microsoft.com/office/drawing/2010/main">
                  <a:solidFill>
                    <a:srgbClr val="FFFFFF"/>
                  </a:solidFill>
                </a14:hiddenFill>
              </a:ext>
            </a:extLst>
          </p:spPr>
        </p:pic>
        <p:pic>
          <p:nvPicPr>
            <p:cNvPr id="22" name="Picture 21"/>
            <p:cNvPicPr>
              <a:picLocks noChangeAspect="1"/>
            </p:cNvPicPr>
            <p:nvPr/>
          </p:nvPicPr>
          <p:blipFill>
            <a:blip r:embed="rId8" cstate="email">
              <a:extLst>
                <a:ext uri="{BEBA8EAE-BF5A-486C-A8C5-ECC9F3942E4B}">
                  <a14:imgProps xmlns:a14="http://schemas.microsoft.com/office/drawing/2010/main">
                    <a14:imgLayer r:embed="rId9">
                      <a14:imgEffect>
                        <a14:sharpenSoften amount="-54000"/>
                      </a14:imgEffect>
                    </a14:imgLayer>
                  </a14:imgProps>
                </a:ext>
                <a:ext uri="{28A0092B-C50C-407E-A947-70E740481C1C}">
                  <a14:useLocalDpi xmlns:a14="http://schemas.microsoft.com/office/drawing/2010/main"/>
                </a:ext>
              </a:extLst>
            </a:blip>
            <a:stretch>
              <a:fillRect/>
            </a:stretch>
          </p:blipFill>
          <p:spPr>
            <a:xfrm>
              <a:off x="4925599" y="4051712"/>
              <a:ext cx="1706880" cy="1280160"/>
            </a:xfrm>
            <a:prstGeom prst="rect">
              <a:avLst/>
            </a:prstGeom>
            <a:ln w="38100" cap="sq">
              <a:solidFill>
                <a:srgbClr val="000000"/>
              </a:solidFill>
              <a:prstDash val="solid"/>
              <a:miter lim="800000"/>
            </a:ln>
            <a:effectLst/>
          </p:spPr>
        </p:pic>
        <p:pic>
          <p:nvPicPr>
            <p:cNvPr id="34833" name="Picture 17" descr="\\192.168.211.200\meb\Extranet\Photo Bank\Eqpt Pics\WD600-3.jpg"/>
            <p:cNvPicPr>
              <a:picLocks noChangeAspect="1" noChangeArrowheads="1"/>
            </p:cNvPicPr>
            <p:nvPr/>
          </p:nvPicPr>
          <p:blipFill rotWithShape="1">
            <a:blip r:embed="rId10" cstate="email">
              <a:extLst>
                <a:ext uri="{28A0092B-C50C-407E-A947-70E740481C1C}">
                  <a14:useLocalDpi xmlns:a14="http://schemas.microsoft.com/office/drawing/2010/main"/>
                </a:ext>
              </a:extLst>
            </a:blip>
            <a:srcRect l="-1" r="-236"/>
            <a:stretch/>
          </p:blipFill>
          <p:spPr bwMode="auto">
            <a:xfrm>
              <a:off x="6008471" y="5579864"/>
              <a:ext cx="1653432" cy="1280160"/>
            </a:xfrm>
            <a:prstGeom prst="rect">
              <a:avLst/>
            </a:prstGeom>
            <a:ln w="38100" cap="sq">
              <a:solidFill>
                <a:srgbClr val="000000"/>
              </a:solidFill>
              <a:prstDash val="solid"/>
              <a:miter lim="800000"/>
            </a:ln>
            <a:effectLst/>
            <a:extLst>
              <a:ext uri="{909E8E84-426E-40DD-AFC4-6F175D3DCCD1}">
                <a14:hiddenFill xmlns:a14="http://schemas.microsoft.com/office/drawing/2010/main">
                  <a:solidFill>
                    <a:srgbClr val="FFFFFF"/>
                  </a:solidFill>
                </a14:hiddenFill>
              </a:ext>
            </a:extLst>
          </p:spPr>
        </p:pic>
      </p:grpSp>
      <p:sp>
        <p:nvSpPr>
          <p:cNvPr id="18" name="Title 3"/>
          <p:cNvSpPr txBox="1">
            <a:spLocks/>
          </p:cNvSpPr>
          <p:nvPr/>
        </p:nvSpPr>
        <p:spPr>
          <a:xfrm>
            <a:off x="1143000" y="5968757"/>
            <a:ext cx="6858000" cy="338554"/>
          </a:xfrm>
          <a:prstGeom prst="rect">
            <a:avLst/>
          </a:prstGeom>
        </p:spPr>
        <p:txBody>
          <a:bodyPr vert="horz" wrap="square" lIns="91440" tIns="45720" rIns="91440" bIns="45720" rtlCol="0" anchor="ctr">
            <a:spAutoFit/>
          </a:bodyPr>
          <a:lstStyle>
            <a:lvl1pPr algn="r" defTabSz="914400" rtl="0" eaLnBrk="1" latinLnBrk="0" hangingPunct="1">
              <a:spcBef>
                <a:spcPct val="0"/>
              </a:spcBef>
              <a:buNone/>
              <a:defRPr sz="4000" kern="1200">
                <a:solidFill>
                  <a:schemeClr val="accent2">
                    <a:lumMod val="75000"/>
                  </a:schemeClr>
                </a:solidFill>
                <a:latin typeface="+mj-lt"/>
                <a:ea typeface="+mj-ea"/>
                <a:cs typeface="+mj-cs"/>
              </a:defRPr>
            </a:lvl1pPr>
          </a:lstStyle>
          <a:p>
            <a:pPr algn="ctr">
              <a:lnSpc>
                <a:spcPct val="80000"/>
              </a:lnSpc>
              <a:defRPr/>
            </a:pPr>
            <a:r>
              <a:rPr lang="en-US" sz="2000" b="1" i="1" dirty="0" smtClean="0">
                <a:solidFill>
                  <a:srgbClr val="990000"/>
                </a:solidFill>
                <a:cs typeface="Calibri" pitchFamily="34" charset="0"/>
              </a:rPr>
              <a:t>REENERGISING INDIAN COAL SECTOR</a:t>
            </a:r>
            <a:endParaRPr lang="en-US" sz="1200" b="1" dirty="0">
              <a:solidFill>
                <a:sysClr val="windowText" lastClr="000000"/>
              </a:solidFill>
              <a:cs typeface="Calibri" pitchFamily="34" charset="0"/>
            </a:endParaRPr>
          </a:p>
        </p:txBody>
      </p:sp>
      <p:pic>
        <p:nvPicPr>
          <p:cNvPr id="15" name="Picture 31" descr="4100xpb-2"/>
          <p:cNvPicPr>
            <a:picLocks noChangeAspect="1" noChangeArrowheads="1"/>
          </p:cNvPicPr>
          <p:nvPr/>
        </p:nvPicPr>
        <p:blipFill>
          <a:blip r:embed="rId11" cstate="email">
            <a:extLst>
              <a:ext uri="{28A0092B-C50C-407E-A947-70E740481C1C}">
                <a14:useLocalDpi xmlns:a14="http://schemas.microsoft.com/office/drawing/2010/main"/>
              </a:ext>
            </a:extLst>
          </a:blip>
          <a:srcRect/>
          <a:stretch>
            <a:fillRect/>
          </a:stretch>
        </p:blipFill>
        <p:spPr bwMode="auto">
          <a:xfrm>
            <a:off x="827584" y="3170762"/>
            <a:ext cx="1856751" cy="1280160"/>
          </a:xfrm>
          <a:prstGeom prst="rect">
            <a:avLst/>
          </a:prstGeom>
          <a:ln w="38100" cap="sq">
            <a:solidFill>
              <a:srgbClr val="000000"/>
            </a:solidFill>
            <a:prstDash val="solid"/>
            <a:miter lim="800000"/>
          </a:ln>
          <a:effectLst/>
          <a:extLst>
            <a:ext uri="{909E8E84-426E-40DD-AFC4-6F175D3DCCD1}">
              <a14:hiddenFill xmlns:a14="http://schemas.microsoft.com/office/drawing/2010/main">
                <a:solidFill>
                  <a:srgbClr val="FFFFFF"/>
                </a:solidFill>
              </a14:hiddenFill>
            </a:ext>
          </a:extLst>
        </p:spPr>
      </p:pic>
      <p:pic>
        <p:nvPicPr>
          <p:cNvPr id="19" name="Picture 7" descr="C:\Documents and Settings\bperry.iona.IONAGROUP\Desktop\trucks.jpg"/>
          <p:cNvPicPr>
            <a:picLocks noChangeAspect="1" noChangeArrowheads="1"/>
          </p:cNvPicPr>
          <p:nvPr/>
        </p:nvPicPr>
        <p:blipFill>
          <a:blip r:embed="rId12" cstate="email">
            <a:extLst>
              <a:ext uri="{28A0092B-C50C-407E-A947-70E740481C1C}">
                <a14:useLocalDpi xmlns:a14="http://schemas.microsoft.com/office/drawing/2010/main"/>
              </a:ext>
            </a:extLst>
          </a:blip>
          <a:srcRect/>
          <a:stretch>
            <a:fillRect/>
          </a:stretch>
        </p:blipFill>
        <p:spPr bwMode="auto">
          <a:xfrm>
            <a:off x="6804248" y="3156952"/>
            <a:ext cx="1908332" cy="1280160"/>
          </a:xfrm>
          <a:prstGeom prst="rect">
            <a:avLst/>
          </a:prstGeom>
          <a:ln w="38100" cap="sq">
            <a:solidFill>
              <a:srgbClr val="000000"/>
            </a:solidFill>
            <a:prstDash val="solid"/>
            <a:miter lim="800000"/>
          </a:ln>
          <a:effectLst/>
          <a:extLst>
            <a:ext uri="{909E8E84-426E-40DD-AFC4-6F175D3DCCD1}">
              <a14:hiddenFill xmlns:a14="http://schemas.microsoft.com/office/drawing/2010/main">
                <a:solidFill>
                  <a:srgbClr val="FFFFFF"/>
                </a:solidFill>
              </a14:hiddenFill>
            </a:ext>
          </a:extLst>
        </p:spPr>
      </p:pic>
      <p:pic>
        <p:nvPicPr>
          <p:cNvPr id="23" name="Picture 4"/>
          <p:cNvPicPr>
            <a:picLocks noChangeAspect="1" noChangeArrowheads="1"/>
          </p:cNvPicPr>
          <p:nvPr/>
        </p:nvPicPr>
        <p:blipFill>
          <a:blip r:embed="rId13" cstate="email">
            <a:extLst>
              <a:ext uri="{28A0092B-C50C-407E-A947-70E740481C1C}">
                <a14:useLocalDpi xmlns:a14="http://schemas.microsoft.com/office/drawing/2010/main"/>
              </a:ext>
            </a:extLst>
          </a:blip>
          <a:srcRect/>
          <a:stretch>
            <a:fillRect/>
          </a:stretch>
        </p:blipFill>
        <p:spPr bwMode="auto">
          <a:xfrm>
            <a:off x="1471855" y="4669120"/>
            <a:ext cx="2596089" cy="1280160"/>
          </a:xfrm>
          <a:prstGeom prst="rect">
            <a:avLst/>
          </a:prstGeom>
          <a:ln w="38100" cap="sq">
            <a:solidFill>
              <a:srgbClr val="000000"/>
            </a:solidFill>
            <a:prstDash val="solid"/>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9648064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8918" name="Picture 6" descr="15-1"/>
          <p:cNvPicPr>
            <a:picLocks noChangeAspect="1" noChangeArrowheads="1"/>
          </p:cNvPicPr>
          <p:nvPr/>
        </p:nvPicPr>
        <p:blipFill>
          <a:blip r:embed="rId3" cstate="print"/>
          <a:srcRect/>
          <a:stretch>
            <a:fillRect/>
          </a:stretch>
        </p:blipFill>
        <p:spPr bwMode="auto">
          <a:xfrm>
            <a:off x="603821" y="116632"/>
            <a:ext cx="4040187" cy="895350"/>
          </a:xfrm>
          <a:prstGeom prst="rect">
            <a:avLst/>
          </a:prstGeom>
          <a:noFill/>
        </p:spPr>
      </p:pic>
      <p:sp>
        <p:nvSpPr>
          <p:cNvPr id="38916" name="Text Box 4"/>
          <p:cNvSpPr txBox="1">
            <a:spLocks noChangeArrowheads="1"/>
          </p:cNvSpPr>
          <p:nvPr/>
        </p:nvSpPr>
        <p:spPr bwMode="auto">
          <a:xfrm>
            <a:off x="674688" y="2342877"/>
            <a:ext cx="8001000" cy="1590179"/>
          </a:xfrm>
          <a:prstGeom prst="rect">
            <a:avLst/>
          </a:prstGeom>
          <a:noFill/>
          <a:ln w="12700" cap="rnd">
            <a:solidFill>
              <a:schemeClr val="tx2"/>
            </a:solidFill>
            <a:miter lim="800000"/>
            <a:headEnd/>
            <a:tailEnd/>
          </a:ln>
          <a:effectLst/>
        </p:spPr>
        <p:txBody>
          <a:bodyPr lIns="0" tIns="0" rIns="0" bIns="0">
            <a:spAutoFit/>
          </a:bodyPr>
          <a:lstStyle/>
          <a:p>
            <a:pPr marL="457200" indent="-457200">
              <a:lnSpc>
                <a:spcPts val="3100"/>
              </a:lnSpc>
              <a:buFontTx/>
              <a:buChar char="•"/>
            </a:pPr>
            <a:r>
              <a:rPr lang="en-US" altLang="ja-JP" sz="2400" b="1" dirty="0" smtClean="0">
                <a:solidFill>
                  <a:srgbClr val="000000"/>
                </a:solidFill>
                <a:latin typeface="Arial" charset="0"/>
                <a:ea typeface="ＭＳ Ｐゴシック" pitchFamily="50" charset="-128"/>
              </a:rPr>
              <a:t>Provided optimal </a:t>
            </a:r>
            <a:r>
              <a:rPr lang="en-US" altLang="ja-JP" sz="2400" b="1" dirty="0">
                <a:solidFill>
                  <a:srgbClr val="000000"/>
                </a:solidFill>
                <a:latin typeface="Arial" charset="0"/>
                <a:ea typeface="ＭＳ Ｐゴシック" pitchFamily="50" charset="-128"/>
              </a:rPr>
              <a:t>solutions benefiting from IT</a:t>
            </a:r>
          </a:p>
          <a:p>
            <a:pPr marL="457200" indent="-457200">
              <a:lnSpc>
                <a:spcPts val="3100"/>
              </a:lnSpc>
              <a:buFontTx/>
              <a:buChar char="•"/>
            </a:pPr>
            <a:r>
              <a:rPr lang="en-US" altLang="ja-JP" sz="2400" b="1" dirty="0" smtClean="0">
                <a:solidFill>
                  <a:srgbClr val="000000"/>
                </a:solidFill>
                <a:latin typeface="Arial" charset="0"/>
                <a:ea typeface="ＭＳ Ｐゴシック" pitchFamily="50" charset="-128"/>
              </a:rPr>
              <a:t>Reduced </a:t>
            </a:r>
            <a:r>
              <a:rPr lang="en-US" altLang="ja-JP" sz="2400" b="1" dirty="0">
                <a:solidFill>
                  <a:srgbClr val="000000"/>
                </a:solidFill>
                <a:latin typeface="Arial" charset="0"/>
                <a:ea typeface="ＭＳ Ｐゴシック" pitchFamily="50" charset="-128"/>
              </a:rPr>
              <a:t>environmental impact</a:t>
            </a:r>
          </a:p>
          <a:p>
            <a:pPr marL="457200" indent="-457200">
              <a:lnSpc>
                <a:spcPts val="3100"/>
              </a:lnSpc>
              <a:buFontTx/>
              <a:buChar char="•"/>
            </a:pPr>
            <a:r>
              <a:rPr lang="en-US" altLang="ja-JP" sz="2400" b="1" dirty="0" smtClean="0">
                <a:solidFill>
                  <a:srgbClr val="000000"/>
                </a:solidFill>
                <a:latin typeface="Arial" charset="0"/>
                <a:ea typeface="ＭＳ Ｐゴシック" pitchFamily="50" charset="-128"/>
              </a:rPr>
              <a:t>Assured safer </a:t>
            </a:r>
            <a:r>
              <a:rPr lang="en-US" altLang="ja-JP" sz="2400" b="1" dirty="0">
                <a:solidFill>
                  <a:srgbClr val="000000"/>
                </a:solidFill>
                <a:latin typeface="Arial" charset="0"/>
                <a:ea typeface="ＭＳ Ｐゴシック" pitchFamily="50" charset="-128"/>
              </a:rPr>
              <a:t>operating conditions</a:t>
            </a:r>
          </a:p>
          <a:p>
            <a:pPr marL="457200" indent="-457200">
              <a:lnSpc>
                <a:spcPts val="3100"/>
              </a:lnSpc>
              <a:buFontTx/>
              <a:buChar char="•"/>
            </a:pPr>
            <a:r>
              <a:rPr lang="en-US" altLang="ja-JP" sz="2400" b="1" dirty="0" smtClean="0">
                <a:solidFill>
                  <a:srgbClr val="000000"/>
                </a:solidFill>
                <a:latin typeface="Arial" charset="0"/>
                <a:ea typeface="ＭＳ Ｐゴシック" pitchFamily="50" charset="-128"/>
              </a:rPr>
              <a:t>Supplied </a:t>
            </a:r>
            <a:r>
              <a:rPr lang="en-US" altLang="ja-JP" sz="2400" b="1" dirty="0">
                <a:solidFill>
                  <a:srgbClr val="000000"/>
                </a:solidFill>
                <a:latin typeface="Arial" charset="0"/>
                <a:ea typeface="ＭＳ Ｐゴシック" pitchFamily="50" charset="-128"/>
              </a:rPr>
              <a:t>powerful, superior-quality equipment</a:t>
            </a:r>
          </a:p>
        </p:txBody>
      </p:sp>
      <p:sp>
        <p:nvSpPr>
          <p:cNvPr id="38919" name="Text Box 7"/>
          <p:cNvSpPr txBox="1">
            <a:spLocks noChangeArrowheads="1"/>
          </p:cNvSpPr>
          <p:nvPr/>
        </p:nvSpPr>
        <p:spPr bwMode="auto">
          <a:xfrm>
            <a:off x="589037" y="1273770"/>
            <a:ext cx="7799387" cy="427038"/>
          </a:xfrm>
          <a:prstGeom prst="rect">
            <a:avLst/>
          </a:prstGeom>
          <a:noFill/>
          <a:ln w="12700" cap="rnd">
            <a:noFill/>
            <a:miter lim="800000"/>
            <a:headEnd/>
            <a:tailEnd/>
          </a:ln>
          <a:effectLst/>
        </p:spPr>
        <p:txBody>
          <a:bodyPr wrap="none" lIns="0" tIns="0" rIns="0" bIns="0">
            <a:spAutoFit/>
          </a:bodyPr>
          <a:lstStyle/>
          <a:p>
            <a:pPr marL="163513" indent="-163513" algn="ctr"/>
            <a:r>
              <a:rPr lang="en-US" altLang="ja-JP" sz="2800" b="0" dirty="0">
                <a:solidFill>
                  <a:srgbClr val="FF0000"/>
                </a:solidFill>
                <a:latin typeface="Impact" pitchFamily="34" charset="0"/>
                <a:ea typeface="ＭＳ Ｐゴシック" pitchFamily="50" charset="-128"/>
              </a:rPr>
              <a:t>G</a:t>
            </a:r>
            <a:r>
              <a:rPr lang="en-US" altLang="ja-JP" sz="2800" b="0" dirty="0">
                <a:solidFill>
                  <a:srgbClr val="000000"/>
                </a:solidFill>
                <a:latin typeface="Impact" pitchFamily="34" charset="0"/>
                <a:ea typeface="ＭＳ Ｐゴシック" pitchFamily="50" charset="-128"/>
              </a:rPr>
              <a:t>enuine </a:t>
            </a:r>
            <a:r>
              <a:rPr lang="en-US" altLang="ja-JP" sz="2800" b="0" dirty="0">
                <a:solidFill>
                  <a:srgbClr val="FF0000"/>
                </a:solidFill>
                <a:latin typeface="Impact" pitchFamily="34" charset="0"/>
                <a:ea typeface="ＭＳ Ｐゴシック" pitchFamily="50" charset="-128"/>
              </a:rPr>
              <a:t>A</a:t>
            </a:r>
            <a:r>
              <a:rPr lang="en-US" altLang="ja-JP" sz="2800" b="0" dirty="0">
                <a:solidFill>
                  <a:srgbClr val="000000"/>
                </a:solidFill>
                <a:latin typeface="Impact" pitchFamily="34" charset="0"/>
                <a:ea typeface="ＭＳ Ｐゴシック" pitchFamily="50" charset="-128"/>
              </a:rPr>
              <a:t>nswers for</a:t>
            </a:r>
            <a:r>
              <a:rPr lang="en-US" altLang="ja-JP" sz="2800" b="0" dirty="0">
                <a:solidFill>
                  <a:srgbClr val="FF0000"/>
                </a:solidFill>
                <a:latin typeface="Impact" pitchFamily="34" charset="0"/>
                <a:ea typeface="ＭＳ Ｐゴシック" pitchFamily="50" charset="-128"/>
              </a:rPr>
              <a:t> L</a:t>
            </a:r>
            <a:r>
              <a:rPr lang="en-US" altLang="ja-JP" sz="2800" b="0" dirty="0">
                <a:solidFill>
                  <a:srgbClr val="000000"/>
                </a:solidFill>
                <a:latin typeface="Impact" pitchFamily="34" charset="0"/>
                <a:ea typeface="ＭＳ Ｐゴシック" pitchFamily="50" charset="-128"/>
              </a:rPr>
              <a:t>and &amp; </a:t>
            </a:r>
            <a:r>
              <a:rPr lang="en-US" altLang="ja-JP" sz="2800" b="0" dirty="0">
                <a:solidFill>
                  <a:srgbClr val="FF0000"/>
                </a:solidFill>
                <a:latin typeface="Impact" pitchFamily="34" charset="0"/>
                <a:ea typeface="ＭＳ Ｐゴシック" pitchFamily="50" charset="-128"/>
              </a:rPr>
              <a:t>E</a:t>
            </a:r>
            <a:r>
              <a:rPr lang="en-US" altLang="ja-JP" sz="2800" b="0" dirty="0">
                <a:solidFill>
                  <a:srgbClr val="000000"/>
                </a:solidFill>
                <a:latin typeface="Impact" pitchFamily="34" charset="0"/>
                <a:ea typeface="ＭＳ Ｐゴシック" pitchFamily="50" charset="-128"/>
              </a:rPr>
              <a:t>nvironment </a:t>
            </a:r>
            <a:r>
              <a:rPr lang="en-US" altLang="ja-JP" sz="2800" b="0" dirty="0">
                <a:solidFill>
                  <a:srgbClr val="FF0000"/>
                </a:solidFill>
                <a:latin typeface="Impact" pitchFamily="34" charset="0"/>
                <a:ea typeface="ＭＳ Ｐゴシック" pitchFamily="50" charset="-128"/>
              </a:rPr>
              <a:t>O</a:t>
            </a:r>
            <a:r>
              <a:rPr lang="en-US" altLang="ja-JP" sz="2800" b="0" dirty="0">
                <a:solidFill>
                  <a:srgbClr val="000000"/>
                </a:solidFill>
                <a:latin typeface="Impact" pitchFamily="34" charset="0"/>
                <a:ea typeface="ＭＳ Ｐゴシック" pitchFamily="50" charset="-128"/>
              </a:rPr>
              <a:t>ptimization</a:t>
            </a:r>
          </a:p>
        </p:txBody>
      </p:sp>
    </p:spTree>
    <p:extLst>
      <p:ext uri="{BB962C8B-B14F-4D97-AF65-F5344CB8AC3E}">
        <p14:creationId xmlns:p14="http://schemas.microsoft.com/office/powerpoint/2010/main" val="4002465310"/>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3" presetClass="entr" presetSubtype="16" fill="hold" nodeType="afterEffect">
                                  <p:stCondLst>
                                    <p:cond delay="0"/>
                                  </p:stCondLst>
                                  <p:childTnLst>
                                    <p:set>
                                      <p:cBhvr>
                                        <p:cTn id="6" dur="1" fill="hold">
                                          <p:stCondLst>
                                            <p:cond delay="0"/>
                                          </p:stCondLst>
                                        </p:cTn>
                                        <p:tgtEl>
                                          <p:spTgt spid="38918"/>
                                        </p:tgtEl>
                                        <p:attrNameLst>
                                          <p:attrName>style.visibility</p:attrName>
                                        </p:attrNameLst>
                                      </p:cBhvr>
                                      <p:to>
                                        <p:strVal val="visible"/>
                                      </p:to>
                                    </p:set>
                                    <p:anim calcmode="lin" valueType="num">
                                      <p:cBhvr>
                                        <p:cTn id="7" dur="500" fill="hold"/>
                                        <p:tgtEl>
                                          <p:spTgt spid="38918"/>
                                        </p:tgtEl>
                                        <p:attrNameLst>
                                          <p:attrName>ppt_w</p:attrName>
                                        </p:attrNameLst>
                                      </p:cBhvr>
                                      <p:tavLst>
                                        <p:tav tm="0">
                                          <p:val>
                                            <p:fltVal val="0"/>
                                          </p:val>
                                        </p:tav>
                                        <p:tav tm="100000">
                                          <p:val>
                                            <p:strVal val="#ppt_w"/>
                                          </p:val>
                                        </p:tav>
                                      </p:tavLst>
                                    </p:anim>
                                    <p:anim calcmode="lin" valueType="num">
                                      <p:cBhvr>
                                        <p:cTn id="8" dur="500" fill="hold"/>
                                        <p:tgtEl>
                                          <p:spTgt spid="38918"/>
                                        </p:tgtEl>
                                        <p:attrNameLst>
                                          <p:attrName>ppt_h</p:attrName>
                                        </p:attrNameLst>
                                      </p:cBhvr>
                                      <p:tavLst>
                                        <p:tav tm="0">
                                          <p:val>
                                            <p:fltVal val="0"/>
                                          </p:val>
                                        </p:tav>
                                        <p:tav tm="100000">
                                          <p:val>
                                            <p:strVal val="#ppt_h"/>
                                          </p:val>
                                        </p:tav>
                                      </p:tavLst>
                                    </p:anim>
                                  </p:childTnLst>
                                </p:cTn>
                              </p:par>
                            </p:childTnLst>
                          </p:cTn>
                        </p:par>
                        <p:par>
                          <p:cTn id="9" fill="hold">
                            <p:stCondLst>
                              <p:cond delay="500"/>
                            </p:stCondLst>
                            <p:childTnLst>
                              <p:par>
                                <p:cTn id="10" presetID="12" presetClass="entr" presetSubtype="1" fill="hold" grpId="0" nodeType="afterEffect">
                                  <p:stCondLst>
                                    <p:cond delay="0"/>
                                  </p:stCondLst>
                                  <p:childTnLst>
                                    <p:set>
                                      <p:cBhvr>
                                        <p:cTn id="11" dur="1" fill="hold">
                                          <p:stCondLst>
                                            <p:cond delay="0"/>
                                          </p:stCondLst>
                                        </p:cTn>
                                        <p:tgtEl>
                                          <p:spTgt spid="38919"/>
                                        </p:tgtEl>
                                        <p:attrNameLst>
                                          <p:attrName>style.visibility</p:attrName>
                                        </p:attrNameLst>
                                      </p:cBhvr>
                                      <p:to>
                                        <p:strVal val="visible"/>
                                      </p:to>
                                    </p:set>
                                    <p:animEffect transition="in" filter="slide(fromTop)">
                                      <p:cBhvr>
                                        <p:cTn id="12" dur="500"/>
                                        <p:tgtEl>
                                          <p:spTgt spid="38919"/>
                                        </p:tgtEl>
                                      </p:cBhvr>
                                    </p:animEffect>
                                  </p:childTnLst>
                                </p:cTn>
                              </p:par>
                            </p:childTnLst>
                          </p:cTn>
                        </p:par>
                        <p:par>
                          <p:cTn id="13" fill="hold">
                            <p:stCondLst>
                              <p:cond delay="1000"/>
                            </p:stCondLst>
                            <p:childTnLst>
                              <p:par>
                                <p:cTn id="14" presetID="9" presetClass="entr" presetSubtype="0" fill="hold" grpId="0" nodeType="afterEffect">
                                  <p:stCondLst>
                                    <p:cond delay="0"/>
                                  </p:stCondLst>
                                  <p:childTnLst>
                                    <p:set>
                                      <p:cBhvr>
                                        <p:cTn id="15" dur="1" fill="hold">
                                          <p:stCondLst>
                                            <p:cond delay="0"/>
                                          </p:stCondLst>
                                        </p:cTn>
                                        <p:tgtEl>
                                          <p:spTgt spid="38916"/>
                                        </p:tgtEl>
                                        <p:attrNameLst>
                                          <p:attrName>style.visibility</p:attrName>
                                        </p:attrNameLst>
                                      </p:cBhvr>
                                      <p:to>
                                        <p:strVal val="visible"/>
                                      </p:to>
                                    </p:set>
                                    <p:animEffect transition="in" filter="dissolve">
                                      <p:cBhvr>
                                        <p:cTn id="16" dur="500"/>
                                        <p:tgtEl>
                                          <p:spTgt spid="389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8916" grpId="0" animBg="1" autoUpdateAnimBg="0"/>
      <p:bldP spid="38919" grpId="0" autoUpdateAnimBg="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5603" name="Picture 3"/>
          <p:cNvPicPr>
            <a:picLocks noChangeAspect="1" noChangeArrowheads="1"/>
          </p:cNvPicPr>
          <p:nvPr/>
        </p:nvPicPr>
        <p:blipFill>
          <a:blip r:embed="rId3" cstate="print"/>
          <a:srcRect/>
          <a:stretch>
            <a:fillRect/>
          </a:stretch>
        </p:blipFill>
        <p:spPr bwMode="auto">
          <a:xfrm>
            <a:off x="3067348" y="836712"/>
            <a:ext cx="2705100" cy="2428875"/>
          </a:xfrm>
          <a:prstGeom prst="rect">
            <a:avLst/>
          </a:prstGeom>
          <a:noFill/>
          <a:ln w="9525">
            <a:noFill/>
            <a:miter lim="800000"/>
            <a:headEnd/>
            <a:tailEnd/>
          </a:ln>
        </p:spPr>
      </p:pic>
      <p:sp>
        <p:nvSpPr>
          <p:cNvPr id="2" name="TextBox 1"/>
          <p:cNvSpPr txBox="1"/>
          <p:nvPr/>
        </p:nvSpPr>
        <p:spPr>
          <a:xfrm>
            <a:off x="1043608" y="3645024"/>
            <a:ext cx="7128792" cy="2031325"/>
          </a:xfrm>
          <a:prstGeom prst="rect">
            <a:avLst/>
          </a:prstGeom>
          <a:noFill/>
          <a:ln>
            <a:solidFill>
              <a:schemeClr val="tx2"/>
            </a:solidFill>
          </a:ln>
        </p:spPr>
        <p:txBody>
          <a:bodyPr wrap="square" rtlCol="0">
            <a:spAutoFit/>
          </a:bodyPr>
          <a:lstStyle/>
          <a:p>
            <a:pPr marL="342900" indent="-342900">
              <a:buAutoNum type="arabicPeriod"/>
            </a:pPr>
            <a:r>
              <a:rPr lang="en-US" b="1" dirty="0" smtClean="0"/>
              <a:t>Integrates Electronic , Engine and Hydraulic Technology.</a:t>
            </a:r>
          </a:p>
          <a:p>
            <a:pPr marL="342900" indent="-342900">
              <a:buAutoNum type="arabicPeriod"/>
            </a:pPr>
            <a:endParaRPr lang="en-US" b="1" dirty="0" smtClean="0"/>
          </a:p>
          <a:p>
            <a:pPr marL="342900" indent="-342900">
              <a:buAutoNum type="arabicPeriod"/>
            </a:pPr>
            <a:r>
              <a:rPr lang="en-US" b="1" dirty="0" smtClean="0"/>
              <a:t>Meets and exceeds latest emission requirements &amp; </a:t>
            </a:r>
            <a:r>
              <a:rPr lang="en-US" b="1" dirty="0" err="1" smtClean="0"/>
              <a:t>optimises</a:t>
            </a:r>
            <a:r>
              <a:rPr lang="en-US" b="1" dirty="0" smtClean="0"/>
              <a:t> fuel consumption.</a:t>
            </a:r>
          </a:p>
          <a:p>
            <a:endParaRPr lang="en-US" b="1" dirty="0" smtClean="0"/>
          </a:p>
          <a:p>
            <a:pPr marL="342900" indent="-342900">
              <a:buFont typeface="+mj-lt"/>
              <a:buAutoNum type="arabicPeriod" startAt="3"/>
            </a:pPr>
            <a:r>
              <a:rPr lang="en-US" b="1" dirty="0" smtClean="0"/>
              <a:t>Helps perform heavy duty jobs at all times.</a:t>
            </a:r>
          </a:p>
          <a:p>
            <a:pPr marL="342900" indent="-342900">
              <a:buAutoNum type="arabicPeriod" startAt="3"/>
            </a:pPr>
            <a:endParaRPr lang="en-US" b="1" dirty="0"/>
          </a:p>
        </p:txBody>
      </p:sp>
    </p:spTree>
    <p:extLst>
      <p:ext uri="{BB962C8B-B14F-4D97-AF65-F5344CB8AC3E}">
        <p14:creationId xmlns:p14="http://schemas.microsoft.com/office/powerpoint/2010/main" val="2802982071"/>
      </p:ext>
    </p:extLst>
  </p:cSld>
  <p:clrMapOvr>
    <a:masterClrMapping/>
  </p:clrMapOvr>
  <p:transition spd="slow">
    <p:wipe/>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228600" y="17107"/>
            <a:ext cx="7367736" cy="523220"/>
          </a:xfrm>
          <a:prstGeom prst="rect">
            <a:avLst/>
          </a:prstGeom>
        </p:spPr>
        <p:txBody>
          <a:bodyPr wrap="square">
            <a:spAutoFit/>
          </a:bodyPr>
          <a:lstStyle/>
          <a:p>
            <a:r>
              <a:rPr kumimoji="1" lang="en-US" altLang="ja-JP" sz="2800" b="1" i="1" dirty="0" smtClean="0">
                <a:solidFill>
                  <a:schemeClr val="bg1"/>
                </a:solidFill>
                <a:latin typeface="Times New Roman" pitchFamily="18" charset="0"/>
                <a:ea typeface="ＭＳ Ｐゴシック" pitchFamily="50" charset="-128"/>
              </a:rPr>
              <a:t>Hybrid Hydraulic </a:t>
            </a:r>
            <a:r>
              <a:rPr kumimoji="1" lang="en-US" altLang="ja-JP" sz="2800" b="1" i="1" dirty="0">
                <a:solidFill>
                  <a:schemeClr val="bg1"/>
                </a:solidFill>
                <a:latin typeface="Times New Roman" pitchFamily="18" charset="0"/>
                <a:ea typeface="ＭＳ Ｐゴシック" pitchFamily="50" charset="-128"/>
              </a:rPr>
              <a:t>E</a:t>
            </a:r>
            <a:r>
              <a:rPr kumimoji="1" lang="en-US" altLang="ja-JP" sz="2800" b="1" i="1" dirty="0" smtClean="0">
                <a:solidFill>
                  <a:schemeClr val="bg1"/>
                </a:solidFill>
                <a:latin typeface="Times New Roman" pitchFamily="18" charset="0"/>
                <a:ea typeface="ＭＳ Ｐゴシック" pitchFamily="50" charset="-128"/>
              </a:rPr>
              <a:t>xcavator</a:t>
            </a:r>
            <a:r>
              <a:rPr kumimoji="1" lang="en-US" altLang="ja-JP" sz="2800" b="1" i="1" dirty="0" smtClean="0">
                <a:solidFill>
                  <a:srgbClr val="000000"/>
                </a:solidFill>
                <a:latin typeface="Times New Roman" pitchFamily="18" charset="0"/>
                <a:ea typeface="ＭＳ Ｐゴシック" pitchFamily="50" charset="-128"/>
              </a:rPr>
              <a:t> </a:t>
            </a:r>
            <a:endParaRPr lang="en-US" sz="2800" b="1" dirty="0"/>
          </a:p>
        </p:txBody>
      </p:sp>
      <p:pic>
        <p:nvPicPr>
          <p:cNvPr id="4" name="Picture 3" descr="http://www.constructionequipment.com/sites/default/files/styles/article_big_img/public/Komatsu%20Hybrid%20Excavator.jpg?itok=0DjqskXp"/>
          <p:cNvPicPr/>
          <p:nvPr/>
        </p:nvPicPr>
        <p:blipFill>
          <a:blip r:embed="rId3" cstate="print"/>
          <a:srcRect/>
          <a:stretch>
            <a:fillRect/>
          </a:stretch>
        </p:blipFill>
        <p:spPr bwMode="auto">
          <a:xfrm>
            <a:off x="2699792" y="692696"/>
            <a:ext cx="3672408" cy="2448272"/>
          </a:xfrm>
          <a:prstGeom prst="rect">
            <a:avLst/>
          </a:prstGeom>
          <a:noFill/>
          <a:ln w="9525">
            <a:noFill/>
            <a:miter lim="800000"/>
            <a:headEnd/>
            <a:tailEnd/>
          </a:ln>
        </p:spPr>
      </p:pic>
      <p:sp>
        <p:nvSpPr>
          <p:cNvPr id="46082" name="Rectangle 2"/>
          <p:cNvSpPr>
            <a:spLocks noChangeArrowheads="1"/>
          </p:cNvSpPr>
          <p:nvPr/>
        </p:nvSpPr>
        <p:spPr bwMode="auto">
          <a:xfrm>
            <a:off x="323528" y="3356992"/>
            <a:ext cx="8424936" cy="2631490"/>
          </a:xfrm>
          <a:prstGeom prst="rect">
            <a:avLst/>
          </a:prstGeom>
          <a:noFill/>
          <a:ln w="9525">
            <a:solidFill>
              <a:schemeClr val="accent1"/>
            </a:solidFill>
            <a:miter lim="800000"/>
            <a:headEnd/>
            <a:tailEnd/>
          </a:ln>
          <a:effectLst/>
        </p:spPr>
        <p:txBody>
          <a:bodyPr vert="horz" wrap="square" lIns="91440" tIns="45720" rIns="91440" bIns="45720" numCol="1" anchor="ctr" anchorCtr="0" compatLnSpc="1">
            <a:prstTxWarp prst="textNoShape">
              <a:avLst/>
            </a:prstTxWarp>
            <a:spAutoFit/>
          </a:bodyPr>
          <a:lstStyle/>
          <a:p>
            <a:pPr marL="171450" marR="0" lvl="0" indent="-171450" algn="just" defTabSz="914400" rtl="0" eaLnBrk="0" fontAlgn="base" latinLnBrk="0" hangingPunct="0">
              <a:lnSpc>
                <a:spcPts val="1800"/>
              </a:lnSpc>
              <a:spcBef>
                <a:spcPct val="0"/>
              </a:spcBef>
              <a:spcAft>
                <a:spcPct val="0"/>
              </a:spcAft>
              <a:buClrTx/>
              <a:buSzTx/>
              <a:buFont typeface="Wingdings" pitchFamily="2" charset="2"/>
              <a:buChar char="§"/>
              <a:tabLst/>
            </a:pPr>
            <a:r>
              <a:rPr kumimoji="0" lang="en-US" sz="1700" b="1" i="0" u="none" strike="noStrike" cap="none" normalizeH="0" baseline="0" dirty="0" smtClean="0">
                <a:ln>
                  <a:noFill/>
                </a:ln>
                <a:solidFill>
                  <a:srgbClr val="363536"/>
                </a:solidFill>
                <a:effectLst/>
                <a:latin typeface="Cantarell"/>
                <a:ea typeface="Times New Roman" pitchFamily="18" charset="0"/>
                <a:cs typeface="Times New Roman" pitchFamily="18" charset="0"/>
              </a:rPr>
              <a:t>Uses electrical components not found in its conventional counterpart : a generator motor, inverter, capacitor and electric swing motor.</a:t>
            </a:r>
          </a:p>
          <a:p>
            <a:pPr marL="171450" marR="0" lvl="0" indent="-171450" algn="just" defTabSz="914400" rtl="0" eaLnBrk="0" fontAlgn="base" latinLnBrk="0" hangingPunct="0">
              <a:lnSpc>
                <a:spcPts val="1800"/>
              </a:lnSpc>
              <a:spcBef>
                <a:spcPct val="0"/>
              </a:spcBef>
              <a:spcAft>
                <a:spcPct val="0"/>
              </a:spcAft>
              <a:buClrTx/>
              <a:buSzTx/>
              <a:buFont typeface="Wingdings" pitchFamily="2" charset="2"/>
              <a:buChar char="§"/>
              <a:tabLst/>
            </a:pPr>
            <a:endParaRPr kumimoji="0" lang="en-US" sz="1700" b="1" i="0" u="none" strike="noStrike" cap="none" normalizeH="0" baseline="0" dirty="0" smtClean="0">
              <a:ln>
                <a:noFill/>
              </a:ln>
              <a:solidFill>
                <a:schemeClr val="tx1"/>
              </a:solidFill>
              <a:effectLst/>
              <a:latin typeface="Arial" pitchFamily="34" charset="0"/>
            </a:endParaRPr>
          </a:p>
          <a:p>
            <a:pPr marL="171450" marR="0" lvl="0" indent="-171450" algn="just" defTabSz="914400" rtl="0" eaLnBrk="0" fontAlgn="base" latinLnBrk="0" hangingPunct="0">
              <a:lnSpc>
                <a:spcPts val="1800"/>
              </a:lnSpc>
              <a:spcBef>
                <a:spcPct val="0"/>
              </a:spcBef>
              <a:spcAft>
                <a:spcPct val="0"/>
              </a:spcAft>
              <a:buClrTx/>
              <a:buSzTx/>
              <a:buFont typeface="Wingdings" pitchFamily="2" charset="2"/>
              <a:buChar char="§"/>
              <a:tabLst/>
            </a:pPr>
            <a:r>
              <a:rPr kumimoji="0" lang="en-US" sz="1700" b="1" i="0" u="none" strike="noStrike" cap="none" normalizeH="0" baseline="0" dirty="0" smtClean="0">
                <a:ln>
                  <a:noFill/>
                </a:ln>
                <a:solidFill>
                  <a:srgbClr val="363536"/>
                </a:solidFill>
                <a:effectLst/>
                <a:latin typeface="Cantarell"/>
                <a:ea typeface="Times New Roman" pitchFamily="18" charset="0"/>
                <a:cs typeface="Times New Roman" pitchFamily="18" charset="0"/>
              </a:rPr>
              <a:t>Converts large amounts of energy lost  in swing motor braking into electric</a:t>
            </a:r>
            <a:r>
              <a:rPr kumimoji="0" lang="en-US" sz="1700" b="1" i="0" u="none" strike="noStrike" cap="none" normalizeH="0" dirty="0" smtClean="0">
                <a:ln>
                  <a:noFill/>
                </a:ln>
                <a:solidFill>
                  <a:srgbClr val="363536"/>
                </a:solidFill>
                <a:effectLst/>
                <a:latin typeface="Cantarell"/>
                <a:ea typeface="Times New Roman" pitchFamily="18" charset="0"/>
                <a:cs typeface="Times New Roman" pitchFamily="18" charset="0"/>
              </a:rPr>
              <a:t> energy &amp; stores it in the capacitor. </a:t>
            </a:r>
          </a:p>
          <a:p>
            <a:pPr marL="171450" marR="0" lvl="0" indent="-171450" algn="just" defTabSz="914400" rtl="0" eaLnBrk="0" fontAlgn="base" latinLnBrk="0" hangingPunct="0">
              <a:lnSpc>
                <a:spcPts val="1800"/>
              </a:lnSpc>
              <a:spcBef>
                <a:spcPct val="0"/>
              </a:spcBef>
              <a:spcAft>
                <a:spcPct val="0"/>
              </a:spcAft>
              <a:buClrTx/>
              <a:buSzTx/>
              <a:buFont typeface="Wingdings" pitchFamily="2" charset="2"/>
              <a:buChar char="§"/>
              <a:tabLst/>
            </a:pPr>
            <a:endParaRPr kumimoji="0" lang="en-US" sz="1700" b="1" i="0" u="none" strike="noStrike" cap="none" normalizeH="0" baseline="0" dirty="0" smtClean="0">
              <a:ln>
                <a:noFill/>
              </a:ln>
              <a:solidFill>
                <a:schemeClr val="tx1"/>
              </a:solidFill>
              <a:effectLst/>
              <a:latin typeface="Arial" pitchFamily="34" charset="0"/>
            </a:endParaRPr>
          </a:p>
          <a:p>
            <a:pPr marL="171450" marR="0" lvl="0" indent="-171450" algn="just" defTabSz="914400" rtl="0" eaLnBrk="0" fontAlgn="base" latinLnBrk="0" hangingPunct="0">
              <a:lnSpc>
                <a:spcPts val="1800"/>
              </a:lnSpc>
              <a:spcBef>
                <a:spcPct val="0"/>
              </a:spcBef>
              <a:spcAft>
                <a:spcPct val="0"/>
              </a:spcAft>
              <a:buClrTx/>
              <a:buSzTx/>
              <a:buFont typeface="Wingdings" pitchFamily="2" charset="2"/>
              <a:buChar char="§"/>
              <a:tabLst/>
            </a:pPr>
            <a:r>
              <a:rPr kumimoji="0" lang="en-US" sz="1700" b="1" i="0" u="none" strike="noStrike" cap="none" normalizeH="0" baseline="0" dirty="0" smtClean="0">
                <a:ln>
                  <a:noFill/>
                </a:ln>
                <a:solidFill>
                  <a:srgbClr val="363536"/>
                </a:solidFill>
                <a:effectLst/>
                <a:latin typeface="Cantarell"/>
                <a:ea typeface="Times New Roman" pitchFamily="18" charset="0"/>
                <a:cs typeface="Times New Roman" pitchFamily="18" charset="0"/>
              </a:rPr>
              <a:t>Stored energy  used  to power swing motor or the generator motor.</a:t>
            </a:r>
          </a:p>
          <a:p>
            <a:pPr marL="171450" marR="0" lvl="0" indent="-171450" algn="just" defTabSz="914400" rtl="0" eaLnBrk="0" fontAlgn="base" latinLnBrk="0" hangingPunct="0">
              <a:lnSpc>
                <a:spcPts val="1800"/>
              </a:lnSpc>
              <a:spcBef>
                <a:spcPct val="0"/>
              </a:spcBef>
              <a:spcAft>
                <a:spcPct val="0"/>
              </a:spcAft>
              <a:buClrTx/>
              <a:buSzTx/>
              <a:buFont typeface="Wingdings" pitchFamily="2" charset="2"/>
              <a:buChar char="§"/>
              <a:tabLst/>
            </a:pPr>
            <a:endParaRPr lang="en-US" sz="1700" b="1" dirty="0">
              <a:solidFill>
                <a:srgbClr val="363536"/>
              </a:solidFill>
              <a:latin typeface="Cantarell"/>
              <a:ea typeface="Times New Roman" pitchFamily="18" charset="0"/>
              <a:cs typeface="Times New Roman" pitchFamily="18" charset="0"/>
            </a:endParaRPr>
          </a:p>
          <a:p>
            <a:pPr marL="171450" marR="0" lvl="0" indent="-171450" algn="just" defTabSz="914400" rtl="0" eaLnBrk="0" fontAlgn="base" latinLnBrk="0" hangingPunct="0">
              <a:lnSpc>
                <a:spcPts val="1800"/>
              </a:lnSpc>
              <a:spcBef>
                <a:spcPct val="0"/>
              </a:spcBef>
              <a:spcAft>
                <a:spcPct val="0"/>
              </a:spcAft>
              <a:buClrTx/>
              <a:buSzTx/>
              <a:buFont typeface="Wingdings" pitchFamily="2" charset="2"/>
              <a:buChar char="§"/>
              <a:tabLst/>
            </a:pPr>
            <a:r>
              <a:rPr kumimoji="0" lang="en-US" sz="1700" b="1" i="0" u="none" strike="noStrike" cap="none" normalizeH="0" baseline="0" dirty="0" smtClean="0">
                <a:ln>
                  <a:noFill/>
                </a:ln>
                <a:solidFill>
                  <a:srgbClr val="363536"/>
                </a:solidFill>
                <a:effectLst/>
                <a:latin typeface="Cantarell"/>
                <a:ea typeface="Times New Roman" pitchFamily="18" charset="0"/>
                <a:cs typeface="Times New Roman" pitchFamily="18" charset="0"/>
              </a:rPr>
              <a:t> The generator motor assists</a:t>
            </a:r>
            <a:r>
              <a:rPr kumimoji="0" lang="en-US" sz="1700" b="1" i="0" u="none" strike="noStrike" cap="none" normalizeH="0" dirty="0" smtClean="0">
                <a:ln>
                  <a:noFill/>
                </a:ln>
                <a:solidFill>
                  <a:srgbClr val="363536"/>
                </a:solidFill>
                <a:effectLst/>
                <a:latin typeface="Cantarell"/>
                <a:ea typeface="Times New Roman" pitchFamily="18" charset="0"/>
                <a:cs typeface="Times New Roman" pitchFamily="18" charset="0"/>
              </a:rPr>
              <a:t> </a:t>
            </a:r>
            <a:r>
              <a:rPr kumimoji="0" lang="en-US" sz="1700" b="1" i="0" u="none" strike="noStrike" cap="none" normalizeH="0" baseline="0" dirty="0" smtClean="0">
                <a:ln>
                  <a:noFill/>
                </a:ln>
                <a:solidFill>
                  <a:srgbClr val="363536"/>
                </a:solidFill>
                <a:effectLst/>
                <a:latin typeface="Cantarell"/>
                <a:ea typeface="Times New Roman" pitchFamily="18" charset="0"/>
                <a:cs typeface="Times New Roman" pitchFamily="18" charset="0"/>
              </a:rPr>
              <a:t>the engine in driving the hydraulic pumps.</a:t>
            </a:r>
          </a:p>
          <a:p>
            <a:pPr marR="0" lvl="0" algn="just" defTabSz="914400" rtl="0" eaLnBrk="0" fontAlgn="base" latinLnBrk="0" hangingPunct="0">
              <a:lnSpc>
                <a:spcPts val="1800"/>
              </a:lnSpc>
              <a:spcBef>
                <a:spcPct val="0"/>
              </a:spcBef>
              <a:spcAft>
                <a:spcPct val="0"/>
              </a:spcAft>
              <a:buClrTx/>
              <a:buSzTx/>
              <a:tabLst/>
            </a:pPr>
            <a:endParaRPr kumimoji="0" lang="en-US" sz="1700" b="1" i="0" u="none" strike="noStrike" cap="none" normalizeH="0" baseline="0" dirty="0" smtClean="0">
              <a:ln>
                <a:noFill/>
              </a:ln>
              <a:solidFill>
                <a:srgbClr val="363536"/>
              </a:solidFill>
              <a:effectLst/>
              <a:latin typeface="Cantarell"/>
              <a:ea typeface="Times New Roman" pitchFamily="18" charset="0"/>
              <a:cs typeface="Times New Roman" pitchFamily="18" charset="0"/>
            </a:endParaRPr>
          </a:p>
          <a:p>
            <a:pPr marL="171450" marR="0" lvl="0" indent="-171450" algn="just" defTabSz="914400" rtl="0" eaLnBrk="0" fontAlgn="base" latinLnBrk="0" hangingPunct="0">
              <a:lnSpc>
                <a:spcPts val="1800"/>
              </a:lnSpc>
              <a:spcBef>
                <a:spcPct val="0"/>
              </a:spcBef>
              <a:spcAft>
                <a:spcPct val="0"/>
              </a:spcAft>
              <a:buClrTx/>
              <a:buSzTx/>
              <a:buFont typeface="Wingdings" pitchFamily="2" charset="2"/>
              <a:buChar char="§"/>
              <a:tabLst/>
            </a:pPr>
            <a:r>
              <a:rPr lang="en-US" sz="1700" b="1" dirty="0" smtClean="0">
                <a:solidFill>
                  <a:srgbClr val="363536"/>
                </a:solidFill>
                <a:latin typeface="Cantarell"/>
                <a:cs typeface="Times New Roman" pitchFamily="18" charset="0"/>
              </a:rPr>
              <a:t>Saves fuel consumption up to 25%.</a:t>
            </a:r>
            <a:endParaRPr kumimoji="0" lang="en-US" sz="1700" b="1" i="0" u="none" strike="noStrike" cap="none" normalizeH="0" baseline="0" dirty="0" smtClean="0">
              <a:ln>
                <a:noFill/>
              </a:ln>
              <a:solidFill>
                <a:schemeClr val="tx1"/>
              </a:solidFill>
              <a:effectLst/>
              <a:latin typeface="Arial" pitchFamily="34" charset="0"/>
            </a:endParaRPr>
          </a:p>
        </p:txBody>
      </p:sp>
    </p:spTree>
    <p:extLst>
      <p:ext uri="{BB962C8B-B14F-4D97-AF65-F5344CB8AC3E}">
        <p14:creationId xmlns:p14="http://schemas.microsoft.com/office/powerpoint/2010/main" val="3317819278"/>
      </p:ext>
    </p:extLst>
  </p:cSld>
  <p:clrMapOvr>
    <a:masterClrMapping/>
  </p:clrMapOvr>
  <p:transition spd="slow">
    <p:wipe/>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251520" y="44624"/>
            <a:ext cx="5622775" cy="584775"/>
          </a:xfrm>
          <a:prstGeom prst="rect">
            <a:avLst/>
          </a:prstGeom>
        </p:spPr>
        <p:txBody>
          <a:bodyPr wrap="square">
            <a:spAutoFit/>
          </a:bodyPr>
          <a:lstStyle/>
          <a:p>
            <a:pPr algn="ctr"/>
            <a:r>
              <a:rPr kumimoji="1" lang="en-US" altLang="ja-JP" sz="3200" b="1" i="1" dirty="0" smtClean="0">
                <a:solidFill>
                  <a:schemeClr val="bg1"/>
                </a:solidFill>
                <a:latin typeface="Times New Roman" pitchFamily="18" charset="0"/>
                <a:ea typeface="ＭＳ Ｐゴシック" pitchFamily="50" charset="-128"/>
              </a:rPr>
              <a:t>Intelligent Machine Control </a:t>
            </a:r>
            <a:endParaRPr lang="en-US" sz="3200" b="1" dirty="0">
              <a:solidFill>
                <a:schemeClr val="bg1"/>
              </a:solidFill>
            </a:endParaRPr>
          </a:p>
        </p:txBody>
      </p:sp>
      <p:pic>
        <p:nvPicPr>
          <p:cNvPr id="3" name="Picture 2" descr="D61i-23 dozer"/>
          <p:cNvPicPr/>
          <p:nvPr/>
        </p:nvPicPr>
        <p:blipFill>
          <a:blip r:embed="rId3" cstate="print"/>
          <a:srcRect/>
          <a:stretch>
            <a:fillRect/>
          </a:stretch>
        </p:blipFill>
        <p:spPr bwMode="auto">
          <a:xfrm>
            <a:off x="2699792" y="1484784"/>
            <a:ext cx="3456384" cy="2520280"/>
          </a:xfrm>
          <a:prstGeom prst="rect">
            <a:avLst/>
          </a:prstGeom>
          <a:noFill/>
          <a:ln w="9525">
            <a:noFill/>
            <a:miter lim="800000"/>
            <a:headEnd/>
            <a:tailEnd/>
          </a:ln>
        </p:spPr>
      </p:pic>
      <p:sp>
        <p:nvSpPr>
          <p:cNvPr id="44035" name="Rectangle 3"/>
          <p:cNvSpPr>
            <a:spLocks noChangeArrowheads="1"/>
          </p:cNvSpPr>
          <p:nvPr/>
        </p:nvSpPr>
        <p:spPr bwMode="auto">
          <a:xfrm>
            <a:off x="1547664" y="908720"/>
            <a:ext cx="6192688" cy="307777"/>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400" b="1" i="0" u="none" strike="noStrike" cap="none" normalizeH="0" baseline="0" dirty="0" smtClean="0">
                <a:ln>
                  <a:noFill/>
                </a:ln>
                <a:solidFill>
                  <a:srgbClr val="000000"/>
                </a:solidFill>
                <a:effectLst/>
                <a:latin typeface="Verdana" pitchFamily="34" charset="0"/>
                <a:ea typeface="Times New Roman" pitchFamily="18" charset="0"/>
                <a:cs typeface="Times New Roman" pitchFamily="18" charset="0"/>
              </a:rPr>
              <a:t>Fully Automatic Blade Control For Rough And Fine Dozing</a:t>
            </a:r>
            <a:endParaRPr kumimoji="0" lang="en-US" sz="1400" b="0" i="0" u="none" strike="noStrike" cap="none" normalizeH="0" baseline="0" dirty="0" smtClean="0">
              <a:ln>
                <a:noFill/>
              </a:ln>
              <a:solidFill>
                <a:schemeClr val="tx1"/>
              </a:solidFill>
              <a:effectLst/>
              <a:latin typeface="Arial" pitchFamily="34" charset="0"/>
            </a:endParaRPr>
          </a:p>
        </p:txBody>
      </p:sp>
      <p:sp>
        <p:nvSpPr>
          <p:cNvPr id="4" name="TextBox 3"/>
          <p:cNvSpPr txBox="1"/>
          <p:nvPr/>
        </p:nvSpPr>
        <p:spPr>
          <a:xfrm>
            <a:off x="539552" y="4221088"/>
            <a:ext cx="8273419" cy="1420261"/>
          </a:xfrm>
          <a:prstGeom prst="rect">
            <a:avLst/>
          </a:prstGeom>
          <a:noFill/>
          <a:ln>
            <a:solidFill>
              <a:schemeClr val="tx2"/>
            </a:solidFill>
          </a:ln>
        </p:spPr>
        <p:txBody>
          <a:bodyPr wrap="none" rtlCol="0">
            <a:spAutoFit/>
          </a:bodyPr>
          <a:lstStyle/>
          <a:p>
            <a:pPr marL="285750" indent="-285750">
              <a:lnSpc>
                <a:spcPct val="150000"/>
              </a:lnSpc>
              <a:buFont typeface="Arial" pitchFamily="34" charset="0"/>
              <a:buChar char="•"/>
            </a:pPr>
            <a:r>
              <a:rPr lang="en-US" sz="2000" b="1" dirty="0" smtClean="0"/>
              <a:t>Can perform both rough dozing &amp; finish grading with ease.</a:t>
            </a:r>
          </a:p>
          <a:p>
            <a:pPr marL="285750" indent="-285750">
              <a:lnSpc>
                <a:spcPct val="150000"/>
              </a:lnSpc>
              <a:buFont typeface="Arial" pitchFamily="34" charset="0"/>
              <a:buChar char="•"/>
            </a:pPr>
            <a:r>
              <a:rPr lang="en-US" sz="2000" b="1" dirty="0" smtClean="0"/>
              <a:t>Seamless transition from rough dozing to finish grading operation.</a:t>
            </a:r>
          </a:p>
          <a:p>
            <a:pPr marL="285750" indent="-285750">
              <a:lnSpc>
                <a:spcPct val="150000"/>
              </a:lnSpc>
              <a:buFont typeface="Arial" pitchFamily="34" charset="0"/>
              <a:buChar char="•"/>
            </a:pPr>
            <a:r>
              <a:rPr lang="en-US" sz="2000" b="1" dirty="0" smtClean="0"/>
              <a:t>Increased efficiency &amp; productivity.</a:t>
            </a:r>
            <a:endParaRPr lang="en-IN" sz="2000" b="1" dirty="0"/>
          </a:p>
        </p:txBody>
      </p:sp>
    </p:spTree>
    <p:extLst>
      <p:ext uri="{BB962C8B-B14F-4D97-AF65-F5344CB8AC3E}">
        <p14:creationId xmlns:p14="http://schemas.microsoft.com/office/powerpoint/2010/main" val="548606421"/>
      </p:ext>
    </p:extLst>
  </p:cSld>
  <p:clrMapOvr>
    <a:masterClrMapping/>
  </p:clrMapOvr>
  <p:transition spd="slow">
    <p:wipe/>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722" name="Picture 2" descr="AutonomousHaulageSystem"/>
          <p:cNvPicPr>
            <a:picLocks noChangeAspect="1" noChangeArrowheads="1"/>
          </p:cNvPicPr>
          <p:nvPr/>
        </p:nvPicPr>
        <p:blipFill>
          <a:blip r:embed="rId3" cstate="print"/>
          <a:srcRect/>
          <a:stretch>
            <a:fillRect/>
          </a:stretch>
        </p:blipFill>
        <p:spPr bwMode="auto">
          <a:xfrm>
            <a:off x="33338" y="647848"/>
            <a:ext cx="9082087" cy="5805488"/>
          </a:xfrm>
          <a:prstGeom prst="rect">
            <a:avLst/>
          </a:prstGeom>
          <a:noFill/>
          <a:ln w="9525">
            <a:noFill/>
            <a:miter lim="800000"/>
            <a:headEnd/>
            <a:tailEnd/>
          </a:ln>
        </p:spPr>
      </p:pic>
      <p:grpSp>
        <p:nvGrpSpPr>
          <p:cNvPr id="2" name="Group 37"/>
          <p:cNvGrpSpPr>
            <a:grpSpLocks/>
          </p:cNvGrpSpPr>
          <p:nvPr/>
        </p:nvGrpSpPr>
        <p:grpSpPr bwMode="auto">
          <a:xfrm>
            <a:off x="104204" y="1314450"/>
            <a:ext cx="9004300" cy="4848225"/>
            <a:chOff x="40" y="820"/>
            <a:chExt cx="5672" cy="3054"/>
          </a:xfrm>
        </p:grpSpPr>
        <p:pic>
          <p:nvPicPr>
            <p:cNvPr id="30728" name="Picture 4" descr="01"/>
            <p:cNvPicPr>
              <a:picLocks noChangeAspect="1" noChangeArrowheads="1"/>
            </p:cNvPicPr>
            <p:nvPr/>
          </p:nvPicPr>
          <p:blipFill>
            <a:blip r:embed="rId4" cstate="print"/>
            <a:srcRect/>
            <a:stretch>
              <a:fillRect/>
            </a:stretch>
          </p:blipFill>
          <p:spPr bwMode="auto">
            <a:xfrm>
              <a:off x="2400" y="2471"/>
              <a:ext cx="1104" cy="794"/>
            </a:xfrm>
            <a:prstGeom prst="rect">
              <a:avLst/>
            </a:prstGeom>
            <a:noFill/>
            <a:ln w="9525">
              <a:noFill/>
              <a:miter lim="800000"/>
              <a:headEnd/>
              <a:tailEnd/>
            </a:ln>
          </p:spPr>
        </p:pic>
        <p:pic>
          <p:nvPicPr>
            <p:cNvPr id="30729" name="Picture 5" descr="930E Dump Truck"/>
            <p:cNvPicPr>
              <a:picLocks noChangeAspect="1" noChangeArrowheads="1"/>
            </p:cNvPicPr>
            <p:nvPr/>
          </p:nvPicPr>
          <p:blipFill>
            <a:blip r:embed="rId5" cstate="print"/>
            <a:srcRect/>
            <a:stretch>
              <a:fillRect/>
            </a:stretch>
          </p:blipFill>
          <p:spPr bwMode="auto">
            <a:xfrm>
              <a:off x="4074" y="2828"/>
              <a:ext cx="1073" cy="871"/>
            </a:xfrm>
            <a:prstGeom prst="rect">
              <a:avLst/>
            </a:prstGeom>
            <a:noFill/>
            <a:ln w="9525">
              <a:noFill/>
              <a:miter lim="800000"/>
              <a:headEnd/>
              <a:tailEnd/>
            </a:ln>
          </p:spPr>
        </p:pic>
        <p:pic>
          <p:nvPicPr>
            <p:cNvPr id="30730" name="Picture 6" descr="04"/>
            <p:cNvPicPr>
              <a:picLocks noChangeAspect="1" noChangeArrowheads="1"/>
            </p:cNvPicPr>
            <p:nvPr/>
          </p:nvPicPr>
          <p:blipFill>
            <a:blip r:embed="rId6" cstate="print"/>
            <a:srcRect/>
            <a:stretch>
              <a:fillRect/>
            </a:stretch>
          </p:blipFill>
          <p:spPr bwMode="auto">
            <a:xfrm>
              <a:off x="48" y="1221"/>
              <a:ext cx="1220" cy="794"/>
            </a:xfrm>
            <a:prstGeom prst="rect">
              <a:avLst/>
            </a:prstGeom>
            <a:noFill/>
            <a:ln w="9525">
              <a:noFill/>
              <a:miter lim="800000"/>
              <a:headEnd/>
              <a:tailEnd/>
            </a:ln>
          </p:spPr>
        </p:pic>
        <p:pic>
          <p:nvPicPr>
            <p:cNvPr id="30731" name="Picture 7" descr="05"/>
            <p:cNvPicPr>
              <a:picLocks noChangeAspect="1" noChangeArrowheads="1"/>
            </p:cNvPicPr>
            <p:nvPr/>
          </p:nvPicPr>
          <p:blipFill>
            <a:blip r:embed="rId7" cstate="print"/>
            <a:srcRect/>
            <a:stretch>
              <a:fillRect/>
            </a:stretch>
          </p:blipFill>
          <p:spPr bwMode="auto">
            <a:xfrm>
              <a:off x="4499" y="1159"/>
              <a:ext cx="1213" cy="794"/>
            </a:xfrm>
            <a:prstGeom prst="rect">
              <a:avLst/>
            </a:prstGeom>
            <a:noFill/>
            <a:ln w="9525">
              <a:noFill/>
              <a:miter lim="800000"/>
              <a:headEnd/>
              <a:tailEnd/>
            </a:ln>
          </p:spPr>
        </p:pic>
        <p:pic>
          <p:nvPicPr>
            <p:cNvPr id="30732" name="Picture 8" descr="06"/>
            <p:cNvPicPr>
              <a:picLocks noChangeAspect="1" noChangeArrowheads="1"/>
            </p:cNvPicPr>
            <p:nvPr/>
          </p:nvPicPr>
          <p:blipFill>
            <a:blip r:embed="rId8" cstate="print"/>
            <a:srcRect/>
            <a:stretch>
              <a:fillRect/>
            </a:stretch>
          </p:blipFill>
          <p:spPr bwMode="auto">
            <a:xfrm>
              <a:off x="1056" y="2592"/>
              <a:ext cx="1056" cy="792"/>
            </a:xfrm>
            <a:prstGeom prst="rect">
              <a:avLst/>
            </a:prstGeom>
            <a:noFill/>
            <a:ln w="9525">
              <a:noFill/>
              <a:miter lim="800000"/>
              <a:headEnd/>
              <a:tailEnd/>
            </a:ln>
          </p:spPr>
        </p:pic>
        <p:sp>
          <p:nvSpPr>
            <p:cNvPr id="53257" name="Rectangle 9"/>
            <p:cNvSpPr>
              <a:spLocks noChangeArrowheads="1"/>
            </p:cNvSpPr>
            <p:nvPr/>
          </p:nvSpPr>
          <p:spPr bwMode="auto">
            <a:xfrm>
              <a:off x="68" y="820"/>
              <a:ext cx="623" cy="245"/>
            </a:xfrm>
            <a:prstGeom prst="rect">
              <a:avLst/>
            </a:prstGeom>
            <a:solidFill>
              <a:srgbClr val="CCFFCC"/>
            </a:solidFill>
            <a:ln w="9525">
              <a:noFill/>
              <a:miter lim="800000"/>
              <a:headEnd/>
              <a:tailEnd/>
            </a:ln>
            <a:effectLst>
              <a:outerShdw dist="35921" dir="2700000" algn="ctr" rotWithShape="0">
                <a:srgbClr val="008000"/>
              </a:outerShdw>
            </a:effectLst>
          </p:spPr>
          <p:txBody>
            <a:bodyPr wrap="none" lIns="43200" tIns="21600" rIns="43200" bIns="21600">
              <a:spAutoFit/>
            </a:bodyPr>
            <a:lstStyle/>
            <a:p>
              <a:pPr algn="ctr">
                <a:lnSpc>
                  <a:spcPct val="80000"/>
                </a:lnSpc>
                <a:defRPr/>
              </a:pPr>
              <a:r>
                <a:rPr lang="en-US" altLang="ja-JP" sz="1400" b="1" dirty="0">
                  <a:solidFill>
                    <a:srgbClr val="000000"/>
                  </a:solidFill>
                  <a:latin typeface="Times New Roman" pitchFamily="18" charset="0"/>
                  <a:cs typeface="Times New Roman" pitchFamily="18" charset="0"/>
                </a:rPr>
                <a:t>GLONASS </a:t>
              </a:r>
              <a:br>
                <a:rPr lang="en-US" altLang="ja-JP" sz="1400" b="1" dirty="0">
                  <a:solidFill>
                    <a:srgbClr val="000000"/>
                  </a:solidFill>
                  <a:latin typeface="Times New Roman" pitchFamily="18" charset="0"/>
                  <a:cs typeface="Times New Roman" pitchFamily="18" charset="0"/>
                </a:rPr>
              </a:br>
              <a:r>
                <a:rPr lang="en-US" altLang="ja-JP" sz="1400" b="1" dirty="0">
                  <a:solidFill>
                    <a:srgbClr val="000000"/>
                  </a:solidFill>
                  <a:latin typeface="Times New Roman" pitchFamily="18" charset="0"/>
                  <a:cs typeface="Times New Roman" pitchFamily="18" charset="0"/>
                </a:rPr>
                <a:t>Satellite</a:t>
              </a:r>
            </a:p>
          </p:txBody>
        </p:sp>
        <p:sp>
          <p:nvSpPr>
            <p:cNvPr id="53258" name="Rectangle 10"/>
            <p:cNvSpPr>
              <a:spLocks noChangeArrowheads="1"/>
            </p:cNvSpPr>
            <p:nvPr/>
          </p:nvSpPr>
          <p:spPr bwMode="auto">
            <a:xfrm>
              <a:off x="4931" y="941"/>
              <a:ext cx="691" cy="136"/>
            </a:xfrm>
            <a:prstGeom prst="rect">
              <a:avLst/>
            </a:prstGeom>
            <a:solidFill>
              <a:srgbClr val="CCFFCC"/>
            </a:solidFill>
            <a:ln w="9525">
              <a:noFill/>
              <a:miter lim="800000"/>
              <a:headEnd/>
              <a:tailEnd/>
            </a:ln>
            <a:effectLst>
              <a:outerShdw dist="35921" dir="2700000" algn="ctr" rotWithShape="0">
                <a:srgbClr val="008000"/>
              </a:outerShdw>
            </a:effectLst>
          </p:spPr>
          <p:txBody>
            <a:bodyPr wrap="none" lIns="43200" tIns="21600" rIns="43200" bIns="21600">
              <a:spAutoFit/>
            </a:bodyPr>
            <a:lstStyle/>
            <a:p>
              <a:pPr algn="ctr">
                <a:lnSpc>
                  <a:spcPct val="80000"/>
                </a:lnSpc>
                <a:defRPr/>
              </a:pPr>
              <a:r>
                <a:rPr lang="en-US" altLang="ja-JP" sz="1400" b="1" dirty="0">
                  <a:solidFill>
                    <a:srgbClr val="000000"/>
                  </a:solidFill>
                  <a:latin typeface="Times New Roman" pitchFamily="18" charset="0"/>
                  <a:cs typeface="Times New Roman" pitchFamily="18" charset="0"/>
                </a:rPr>
                <a:t>GPS Satellite</a:t>
              </a:r>
            </a:p>
          </p:txBody>
        </p:sp>
        <p:sp>
          <p:nvSpPr>
            <p:cNvPr id="53259" name="Rectangle 11"/>
            <p:cNvSpPr>
              <a:spLocks noChangeArrowheads="1"/>
            </p:cNvSpPr>
            <p:nvPr/>
          </p:nvSpPr>
          <p:spPr bwMode="gray">
            <a:xfrm>
              <a:off x="2355" y="3253"/>
              <a:ext cx="1362" cy="307"/>
            </a:xfrm>
            <a:prstGeom prst="rect">
              <a:avLst/>
            </a:prstGeom>
            <a:solidFill>
              <a:srgbClr val="FFFFCC"/>
            </a:solidFill>
            <a:ln w="9525">
              <a:noFill/>
              <a:miter lim="800000"/>
              <a:headEnd/>
              <a:tailEnd/>
            </a:ln>
            <a:effectLst>
              <a:outerShdw dist="35921" dir="2700000" algn="ctr" rotWithShape="0">
                <a:srgbClr val="808080"/>
              </a:outerShdw>
            </a:effectLst>
          </p:spPr>
          <p:txBody>
            <a:bodyPr wrap="none" lIns="43200" tIns="21600" rIns="43200" bIns="21600">
              <a:spAutoFit/>
            </a:bodyPr>
            <a:lstStyle/>
            <a:p>
              <a:pPr>
                <a:lnSpc>
                  <a:spcPct val="80000"/>
                </a:lnSpc>
                <a:defRPr/>
              </a:pPr>
              <a:r>
                <a:rPr lang="en-US" altLang="ja-JP" sz="1200" b="1" dirty="0">
                  <a:solidFill>
                    <a:srgbClr val="000000"/>
                  </a:solidFill>
                  <a:latin typeface="Times New Roman" pitchFamily="18" charset="0"/>
                  <a:cs typeface="Times New Roman" pitchFamily="18" charset="0"/>
                </a:rPr>
                <a:t>1) Hauling</a:t>
              </a:r>
            </a:p>
            <a:p>
              <a:pPr>
                <a:lnSpc>
                  <a:spcPct val="80000"/>
                </a:lnSpc>
                <a:defRPr/>
              </a:pPr>
              <a:r>
                <a:rPr lang="en-US" altLang="ja-JP" sz="1200" b="1" dirty="0">
                  <a:solidFill>
                    <a:srgbClr val="000000"/>
                  </a:solidFill>
                  <a:latin typeface="Times New Roman" pitchFamily="18" charset="0"/>
                  <a:cs typeface="Times New Roman" pitchFamily="18" charset="0"/>
                </a:rPr>
                <a:t>- Precise navigation</a:t>
              </a:r>
            </a:p>
            <a:p>
              <a:pPr>
                <a:lnSpc>
                  <a:spcPct val="80000"/>
                </a:lnSpc>
                <a:defRPr/>
              </a:pPr>
              <a:r>
                <a:rPr lang="en-US" altLang="ja-JP" sz="1200" b="1" dirty="0">
                  <a:solidFill>
                    <a:srgbClr val="000000"/>
                  </a:solidFill>
                  <a:latin typeface="Times New Roman" pitchFamily="18" charset="0"/>
                  <a:cs typeface="Times New Roman" pitchFamily="18" charset="0"/>
                </a:rPr>
                <a:t>- High speed and robust control</a:t>
              </a:r>
            </a:p>
          </p:txBody>
        </p:sp>
        <p:sp>
          <p:nvSpPr>
            <p:cNvPr id="53260" name="Rectangle 12"/>
            <p:cNvSpPr>
              <a:spLocks noChangeArrowheads="1"/>
            </p:cNvSpPr>
            <p:nvPr/>
          </p:nvSpPr>
          <p:spPr bwMode="gray">
            <a:xfrm>
              <a:off x="4039" y="3567"/>
              <a:ext cx="1194" cy="307"/>
            </a:xfrm>
            <a:prstGeom prst="rect">
              <a:avLst/>
            </a:prstGeom>
            <a:solidFill>
              <a:srgbClr val="FFFFCC"/>
            </a:solidFill>
            <a:ln w="9525">
              <a:noFill/>
              <a:miter lim="800000"/>
              <a:headEnd/>
              <a:tailEnd/>
            </a:ln>
            <a:effectLst>
              <a:outerShdw dist="35921" dir="2700000" algn="ctr" rotWithShape="0">
                <a:srgbClr val="808080"/>
              </a:outerShdw>
            </a:effectLst>
          </p:spPr>
          <p:txBody>
            <a:bodyPr wrap="none" lIns="43200" tIns="21600" rIns="43200" bIns="21600">
              <a:spAutoFit/>
            </a:bodyPr>
            <a:lstStyle/>
            <a:p>
              <a:pPr>
                <a:lnSpc>
                  <a:spcPct val="80000"/>
                </a:lnSpc>
                <a:defRPr/>
              </a:pPr>
              <a:r>
                <a:rPr lang="en-US" altLang="ja-JP" sz="1200" b="1" dirty="0">
                  <a:solidFill>
                    <a:srgbClr val="000000"/>
                  </a:solidFill>
                  <a:latin typeface="Times New Roman" pitchFamily="18" charset="0"/>
                  <a:cs typeface="Times New Roman" pitchFamily="18" charset="0"/>
                </a:rPr>
                <a:t>2) Loading Site</a:t>
              </a:r>
            </a:p>
            <a:p>
              <a:pPr>
                <a:lnSpc>
                  <a:spcPct val="80000"/>
                </a:lnSpc>
                <a:defRPr/>
              </a:pPr>
              <a:r>
                <a:rPr lang="en-US" altLang="ja-JP" sz="1200" b="1" dirty="0">
                  <a:solidFill>
                    <a:srgbClr val="000000"/>
                  </a:solidFill>
                  <a:latin typeface="Times New Roman" pitchFamily="18" charset="0"/>
                  <a:cs typeface="Times New Roman" pitchFamily="18" charset="0"/>
                </a:rPr>
                <a:t>Automatic path generation </a:t>
              </a:r>
              <a:br>
                <a:rPr lang="en-US" altLang="ja-JP" sz="1200" b="1" dirty="0">
                  <a:solidFill>
                    <a:srgbClr val="000000"/>
                  </a:solidFill>
                  <a:latin typeface="Times New Roman" pitchFamily="18" charset="0"/>
                  <a:cs typeface="Times New Roman" pitchFamily="18" charset="0"/>
                </a:rPr>
              </a:br>
              <a:r>
                <a:rPr lang="en-US" altLang="ja-JP" sz="1200" b="1" dirty="0">
                  <a:solidFill>
                    <a:srgbClr val="000000"/>
                  </a:solidFill>
                  <a:latin typeface="Times New Roman" pitchFamily="18" charset="0"/>
                  <a:cs typeface="Times New Roman" pitchFamily="18" charset="0"/>
                </a:rPr>
                <a:t>to loading machine</a:t>
              </a:r>
            </a:p>
          </p:txBody>
        </p:sp>
        <p:pic>
          <p:nvPicPr>
            <p:cNvPr id="30737" name="Picture 13" descr="03"/>
            <p:cNvPicPr>
              <a:picLocks noChangeAspect="1" noChangeArrowheads="1"/>
            </p:cNvPicPr>
            <p:nvPr/>
          </p:nvPicPr>
          <p:blipFill>
            <a:blip r:embed="rId9" cstate="print"/>
            <a:srcRect/>
            <a:stretch>
              <a:fillRect/>
            </a:stretch>
          </p:blipFill>
          <p:spPr bwMode="auto">
            <a:xfrm>
              <a:off x="1920" y="1205"/>
              <a:ext cx="1056" cy="792"/>
            </a:xfrm>
            <a:prstGeom prst="rect">
              <a:avLst/>
            </a:prstGeom>
            <a:noFill/>
            <a:ln w="9525">
              <a:noFill/>
              <a:miter lim="800000"/>
              <a:headEnd/>
              <a:tailEnd/>
            </a:ln>
          </p:spPr>
        </p:pic>
        <p:sp>
          <p:nvSpPr>
            <p:cNvPr id="53262" name="Rectangle 14"/>
            <p:cNvSpPr>
              <a:spLocks noChangeArrowheads="1"/>
            </p:cNvSpPr>
            <p:nvPr/>
          </p:nvSpPr>
          <p:spPr bwMode="gray">
            <a:xfrm>
              <a:off x="1920" y="1904"/>
              <a:ext cx="1709" cy="307"/>
            </a:xfrm>
            <a:prstGeom prst="rect">
              <a:avLst/>
            </a:prstGeom>
            <a:solidFill>
              <a:srgbClr val="FFFFCC"/>
            </a:solidFill>
            <a:ln w="9525">
              <a:noFill/>
              <a:miter lim="800000"/>
              <a:headEnd/>
              <a:tailEnd/>
            </a:ln>
            <a:effectLst>
              <a:outerShdw dist="35921" dir="2700000" algn="ctr" rotWithShape="0">
                <a:srgbClr val="808080"/>
              </a:outerShdw>
            </a:effectLst>
          </p:spPr>
          <p:txBody>
            <a:bodyPr wrap="none" lIns="43200" tIns="21600" rIns="43200" bIns="21600">
              <a:spAutoFit/>
            </a:bodyPr>
            <a:lstStyle/>
            <a:p>
              <a:pPr>
                <a:lnSpc>
                  <a:spcPct val="80000"/>
                </a:lnSpc>
                <a:defRPr/>
              </a:pPr>
              <a:r>
                <a:rPr lang="en-US" altLang="ja-JP" sz="1200" b="1" dirty="0">
                  <a:solidFill>
                    <a:srgbClr val="000000"/>
                  </a:solidFill>
                  <a:latin typeface="Times New Roman" pitchFamily="18" charset="0"/>
                  <a:cs typeface="Times New Roman" pitchFamily="18" charset="0"/>
                </a:rPr>
                <a:t>3) Dumping site</a:t>
              </a:r>
            </a:p>
            <a:p>
              <a:pPr>
                <a:lnSpc>
                  <a:spcPct val="80000"/>
                </a:lnSpc>
                <a:defRPr/>
              </a:pPr>
              <a:r>
                <a:rPr lang="en-US" altLang="ja-JP" sz="1200" b="1" dirty="0">
                  <a:solidFill>
                    <a:srgbClr val="000000"/>
                  </a:solidFill>
                  <a:latin typeface="Times New Roman" pitchFamily="18" charset="0"/>
                  <a:cs typeface="Times New Roman" pitchFamily="18" charset="0"/>
                </a:rPr>
                <a:t>- Paddock dump (Auto path generation)</a:t>
              </a:r>
            </a:p>
            <a:p>
              <a:pPr>
                <a:lnSpc>
                  <a:spcPct val="80000"/>
                </a:lnSpc>
                <a:defRPr/>
              </a:pPr>
              <a:r>
                <a:rPr lang="en-US" altLang="ja-JP" sz="1200" b="1" dirty="0">
                  <a:solidFill>
                    <a:srgbClr val="000000"/>
                  </a:solidFill>
                  <a:latin typeface="Times New Roman" pitchFamily="18" charset="0"/>
                  <a:cs typeface="Times New Roman" pitchFamily="18" charset="0"/>
                </a:rPr>
                <a:t>- Crusher dump (Designated location)</a:t>
              </a:r>
            </a:p>
          </p:txBody>
        </p:sp>
        <p:sp>
          <p:nvSpPr>
            <p:cNvPr id="53263" name="Rectangle 15"/>
            <p:cNvSpPr>
              <a:spLocks noChangeArrowheads="1"/>
            </p:cNvSpPr>
            <p:nvPr/>
          </p:nvSpPr>
          <p:spPr bwMode="gray">
            <a:xfrm>
              <a:off x="40" y="1718"/>
              <a:ext cx="1223" cy="400"/>
            </a:xfrm>
            <a:prstGeom prst="rect">
              <a:avLst/>
            </a:prstGeom>
            <a:solidFill>
              <a:srgbClr val="FFFFCC"/>
            </a:solidFill>
            <a:ln w="9525">
              <a:noFill/>
              <a:miter lim="800000"/>
              <a:headEnd/>
              <a:tailEnd/>
            </a:ln>
            <a:effectLst>
              <a:outerShdw dist="35921" dir="2700000" algn="ctr" rotWithShape="0">
                <a:srgbClr val="808080"/>
              </a:outerShdw>
            </a:effectLst>
          </p:spPr>
          <p:txBody>
            <a:bodyPr wrap="none" lIns="43200" tIns="21600" rIns="43200" bIns="21600">
              <a:spAutoFit/>
            </a:bodyPr>
            <a:lstStyle/>
            <a:p>
              <a:pPr>
                <a:lnSpc>
                  <a:spcPct val="80000"/>
                </a:lnSpc>
                <a:defRPr/>
              </a:pPr>
              <a:r>
                <a:rPr lang="en-US" altLang="ja-JP" sz="1200" b="1" dirty="0">
                  <a:solidFill>
                    <a:srgbClr val="000000"/>
                  </a:solidFill>
                  <a:latin typeface="Times New Roman" pitchFamily="18" charset="0"/>
                  <a:cs typeface="Times New Roman" pitchFamily="18" charset="0"/>
                </a:rPr>
                <a:t>4) Fleet Control</a:t>
              </a:r>
            </a:p>
            <a:p>
              <a:pPr>
                <a:lnSpc>
                  <a:spcPct val="80000"/>
                </a:lnSpc>
                <a:defRPr/>
              </a:pPr>
              <a:r>
                <a:rPr lang="en-US" altLang="ja-JP" sz="1200" b="1" dirty="0">
                  <a:solidFill>
                    <a:srgbClr val="000000"/>
                  </a:solidFill>
                  <a:latin typeface="Times New Roman" pitchFamily="18" charset="0"/>
                  <a:cs typeface="Times New Roman" pitchFamily="18" charset="0"/>
                </a:rPr>
                <a:t>- Flexible and expandable</a:t>
              </a:r>
            </a:p>
            <a:p>
              <a:pPr>
                <a:lnSpc>
                  <a:spcPct val="80000"/>
                </a:lnSpc>
                <a:defRPr/>
              </a:pPr>
              <a:r>
                <a:rPr lang="en-US" altLang="ja-JP" sz="1200" b="1" dirty="0">
                  <a:solidFill>
                    <a:srgbClr val="000000"/>
                  </a:solidFill>
                  <a:latin typeface="Times New Roman" pitchFamily="18" charset="0"/>
                  <a:cs typeface="Times New Roman" pitchFamily="18" charset="0"/>
                </a:rPr>
                <a:t>- Manual vehicle interaction</a:t>
              </a:r>
            </a:p>
            <a:p>
              <a:pPr>
                <a:lnSpc>
                  <a:spcPct val="80000"/>
                </a:lnSpc>
                <a:defRPr/>
              </a:pPr>
              <a:r>
                <a:rPr lang="en-US" altLang="ja-JP" sz="1200" b="1" dirty="0">
                  <a:solidFill>
                    <a:srgbClr val="000000"/>
                  </a:solidFill>
                  <a:latin typeface="Times New Roman" pitchFamily="18" charset="0"/>
                  <a:cs typeface="Times New Roman" pitchFamily="18" charset="0"/>
                </a:rPr>
                <a:t>- Grader interaction</a:t>
              </a:r>
            </a:p>
          </p:txBody>
        </p:sp>
        <p:sp>
          <p:nvSpPr>
            <p:cNvPr id="53264" name="Rectangle 16"/>
            <p:cNvSpPr>
              <a:spLocks noChangeArrowheads="1"/>
            </p:cNvSpPr>
            <p:nvPr/>
          </p:nvSpPr>
          <p:spPr bwMode="gray">
            <a:xfrm>
              <a:off x="4512" y="1729"/>
              <a:ext cx="982" cy="307"/>
            </a:xfrm>
            <a:prstGeom prst="rect">
              <a:avLst/>
            </a:prstGeom>
            <a:solidFill>
              <a:srgbClr val="FFFFCC"/>
            </a:solidFill>
            <a:ln w="9525">
              <a:noFill/>
              <a:miter lim="800000"/>
              <a:headEnd/>
              <a:tailEnd/>
            </a:ln>
            <a:effectLst>
              <a:outerShdw dist="35921" dir="2700000" algn="ctr" rotWithShape="0">
                <a:srgbClr val="808080"/>
              </a:outerShdw>
            </a:effectLst>
          </p:spPr>
          <p:txBody>
            <a:bodyPr wrap="none" lIns="43200" tIns="21600" rIns="43200" bIns="21600">
              <a:spAutoFit/>
            </a:bodyPr>
            <a:lstStyle/>
            <a:p>
              <a:pPr>
                <a:lnSpc>
                  <a:spcPct val="80000"/>
                </a:lnSpc>
                <a:defRPr/>
              </a:pPr>
              <a:r>
                <a:rPr lang="en-US" altLang="ja-JP" sz="1200" b="1" dirty="0">
                  <a:solidFill>
                    <a:srgbClr val="000000"/>
                  </a:solidFill>
                  <a:latin typeface="Times New Roman" pitchFamily="18" charset="0"/>
                  <a:cs typeface="Times New Roman" pitchFamily="18" charset="0"/>
                </a:rPr>
                <a:t>5) Safety</a:t>
              </a:r>
            </a:p>
            <a:p>
              <a:pPr>
                <a:lnSpc>
                  <a:spcPct val="80000"/>
                </a:lnSpc>
                <a:defRPr/>
              </a:pPr>
              <a:r>
                <a:rPr lang="en-US" altLang="ja-JP" sz="1200" b="1" dirty="0">
                  <a:solidFill>
                    <a:srgbClr val="000000"/>
                  </a:solidFill>
                  <a:latin typeface="Times New Roman" pitchFamily="18" charset="0"/>
                  <a:cs typeface="Times New Roman" pitchFamily="18" charset="0"/>
                </a:rPr>
                <a:t>Obstacle detection by </a:t>
              </a:r>
              <a:br>
                <a:rPr lang="en-US" altLang="ja-JP" sz="1200" b="1" dirty="0">
                  <a:solidFill>
                    <a:srgbClr val="000000"/>
                  </a:solidFill>
                  <a:latin typeface="Times New Roman" pitchFamily="18" charset="0"/>
                  <a:cs typeface="Times New Roman" pitchFamily="18" charset="0"/>
                </a:rPr>
              </a:br>
              <a:r>
                <a:rPr lang="en-US" altLang="ja-JP" sz="1200" b="1" dirty="0">
                  <a:solidFill>
                    <a:srgbClr val="000000"/>
                  </a:solidFill>
                  <a:latin typeface="Times New Roman" pitchFamily="18" charset="0"/>
                  <a:cs typeface="Times New Roman" pitchFamily="18" charset="0"/>
                </a:rPr>
                <a:t>millimeter wave radar</a:t>
              </a:r>
            </a:p>
          </p:txBody>
        </p:sp>
        <p:sp>
          <p:nvSpPr>
            <p:cNvPr id="53265" name="Rectangle 17"/>
            <p:cNvSpPr>
              <a:spLocks noChangeArrowheads="1"/>
            </p:cNvSpPr>
            <p:nvPr/>
          </p:nvSpPr>
          <p:spPr bwMode="gray">
            <a:xfrm>
              <a:off x="1064" y="3216"/>
              <a:ext cx="805" cy="400"/>
            </a:xfrm>
            <a:prstGeom prst="rect">
              <a:avLst/>
            </a:prstGeom>
            <a:solidFill>
              <a:srgbClr val="FFFFCC"/>
            </a:solidFill>
            <a:ln w="9525">
              <a:noFill/>
              <a:miter lim="800000"/>
              <a:headEnd/>
              <a:tailEnd/>
            </a:ln>
            <a:effectLst>
              <a:outerShdw dist="35921" dir="2700000" algn="ctr" rotWithShape="0">
                <a:srgbClr val="808080"/>
              </a:outerShdw>
            </a:effectLst>
          </p:spPr>
          <p:txBody>
            <a:bodyPr wrap="none" lIns="43200" tIns="21600" rIns="43200" bIns="21600">
              <a:spAutoFit/>
            </a:bodyPr>
            <a:lstStyle/>
            <a:p>
              <a:pPr>
                <a:lnSpc>
                  <a:spcPct val="80000"/>
                </a:lnSpc>
                <a:defRPr/>
              </a:pPr>
              <a:r>
                <a:rPr lang="en-US" altLang="ja-JP" sz="1200" b="1" dirty="0">
                  <a:solidFill>
                    <a:srgbClr val="000000"/>
                  </a:solidFill>
                  <a:latin typeface="Times New Roman" pitchFamily="18" charset="0"/>
                  <a:cs typeface="Times New Roman" pitchFamily="18" charset="0"/>
                </a:rPr>
                <a:t>6) Operation</a:t>
              </a:r>
            </a:p>
            <a:p>
              <a:pPr>
                <a:lnSpc>
                  <a:spcPct val="80000"/>
                </a:lnSpc>
                <a:defRPr/>
              </a:pPr>
              <a:r>
                <a:rPr lang="en-US" altLang="ja-JP" sz="1200" b="1" dirty="0">
                  <a:solidFill>
                    <a:srgbClr val="000000"/>
                  </a:solidFill>
                  <a:latin typeface="Times New Roman" pitchFamily="18" charset="0"/>
                  <a:cs typeface="Times New Roman" pitchFamily="18" charset="0"/>
                </a:rPr>
                <a:t>- High availability</a:t>
              </a:r>
            </a:p>
            <a:p>
              <a:pPr>
                <a:lnSpc>
                  <a:spcPct val="80000"/>
                </a:lnSpc>
                <a:defRPr/>
              </a:pPr>
              <a:r>
                <a:rPr lang="en-US" altLang="ja-JP" sz="1200" b="1" dirty="0">
                  <a:solidFill>
                    <a:srgbClr val="000000"/>
                  </a:solidFill>
                  <a:latin typeface="Times New Roman" pitchFamily="18" charset="0"/>
                  <a:cs typeface="Times New Roman" pitchFamily="18" charset="0"/>
                </a:rPr>
                <a:t>- Economical</a:t>
              </a:r>
            </a:p>
            <a:p>
              <a:pPr>
                <a:lnSpc>
                  <a:spcPct val="80000"/>
                </a:lnSpc>
                <a:defRPr/>
              </a:pPr>
              <a:r>
                <a:rPr lang="en-US" altLang="ja-JP" sz="1200" b="1" dirty="0">
                  <a:solidFill>
                    <a:srgbClr val="000000"/>
                  </a:solidFill>
                  <a:latin typeface="Times New Roman" pitchFamily="18" charset="0"/>
                  <a:cs typeface="Times New Roman" pitchFamily="18" charset="0"/>
                </a:rPr>
                <a:t>- Reliable</a:t>
              </a:r>
            </a:p>
          </p:txBody>
        </p:sp>
        <p:sp>
          <p:nvSpPr>
            <p:cNvPr id="30742" name="Freeform 18"/>
            <p:cNvSpPr>
              <a:spLocks noChangeAspect="1"/>
            </p:cNvSpPr>
            <p:nvPr/>
          </p:nvSpPr>
          <p:spPr bwMode="auto">
            <a:xfrm rot="-2100000">
              <a:off x="846" y="2200"/>
              <a:ext cx="503" cy="108"/>
            </a:xfrm>
            <a:custGeom>
              <a:avLst/>
              <a:gdLst>
                <a:gd name="T0" fmla="*/ 0 w 672"/>
                <a:gd name="T1" fmla="*/ 0 h 144"/>
                <a:gd name="T2" fmla="*/ 9 w 672"/>
                <a:gd name="T3" fmla="*/ 0 h 144"/>
                <a:gd name="T4" fmla="*/ 7 w 672"/>
                <a:gd name="T5" fmla="*/ 2 h 144"/>
                <a:gd name="T6" fmla="*/ 16 w 672"/>
                <a:gd name="T7" fmla="*/ 3 h 144"/>
                <a:gd name="T8" fmla="*/ 5 w 672"/>
                <a:gd name="T9" fmla="*/ 3 h 144"/>
                <a:gd name="T10" fmla="*/ 7 w 672"/>
                <a:gd name="T11" fmla="*/ 2 h 144"/>
                <a:gd name="T12" fmla="*/ 0 w 672"/>
                <a:gd name="T13" fmla="*/ 0 h 144"/>
                <a:gd name="T14" fmla="*/ 0 60000 65536"/>
                <a:gd name="T15" fmla="*/ 0 60000 65536"/>
                <a:gd name="T16" fmla="*/ 0 60000 65536"/>
                <a:gd name="T17" fmla="*/ 0 60000 65536"/>
                <a:gd name="T18" fmla="*/ 0 60000 65536"/>
                <a:gd name="T19" fmla="*/ 0 60000 65536"/>
                <a:gd name="T20" fmla="*/ 0 60000 65536"/>
                <a:gd name="T21" fmla="*/ 0 w 672"/>
                <a:gd name="T22" fmla="*/ 0 h 144"/>
                <a:gd name="T23" fmla="*/ 672 w 672"/>
                <a:gd name="T24" fmla="*/ 144 h 14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72" h="144">
                  <a:moveTo>
                    <a:pt x="0" y="0"/>
                  </a:moveTo>
                  <a:lnTo>
                    <a:pt x="384" y="0"/>
                  </a:lnTo>
                  <a:lnTo>
                    <a:pt x="336" y="96"/>
                  </a:lnTo>
                  <a:lnTo>
                    <a:pt x="672" y="144"/>
                  </a:lnTo>
                  <a:lnTo>
                    <a:pt x="240" y="144"/>
                  </a:lnTo>
                  <a:lnTo>
                    <a:pt x="288" y="48"/>
                  </a:lnTo>
                  <a:lnTo>
                    <a:pt x="0" y="0"/>
                  </a:lnTo>
                  <a:close/>
                </a:path>
              </a:pathLst>
            </a:custGeom>
            <a:solidFill>
              <a:srgbClr val="FFFF66"/>
            </a:solidFill>
            <a:ln w="12700">
              <a:solidFill>
                <a:srgbClr val="000000"/>
              </a:solidFill>
              <a:round/>
              <a:headEnd/>
              <a:tailEnd/>
            </a:ln>
          </p:spPr>
          <p:txBody>
            <a:bodyPr/>
            <a:lstStyle/>
            <a:p>
              <a:endParaRPr lang="ja-JP" altLang="en-US" b="1">
                <a:latin typeface="Times New Roman" charset="0"/>
                <a:cs typeface="Times New Roman" charset="0"/>
              </a:endParaRPr>
            </a:p>
          </p:txBody>
        </p:sp>
        <p:sp>
          <p:nvSpPr>
            <p:cNvPr id="30743" name="Freeform 19"/>
            <p:cNvSpPr>
              <a:spLocks noChangeAspect="1"/>
            </p:cNvSpPr>
            <p:nvPr/>
          </p:nvSpPr>
          <p:spPr bwMode="auto">
            <a:xfrm rot="2100000" flipV="1">
              <a:off x="847" y="2431"/>
              <a:ext cx="503" cy="108"/>
            </a:xfrm>
            <a:custGeom>
              <a:avLst/>
              <a:gdLst>
                <a:gd name="T0" fmla="*/ 0 w 672"/>
                <a:gd name="T1" fmla="*/ 0 h 144"/>
                <a:gd name="T2" fmla="*/ 9 w 672"/>
                <a:gd name="T3" fmla="*/ 0 h 144"/>
                <a:gd name="T4" fmla="*/ 7 w 672"/>
                <a:gd name="T5" fmla="*/ 2 h 144"/>
                <a:gd name="T6" fmla="*/ 16 w 672"/>
                <a:gd name="T7" fmla="*/ 3 h 144"/>
                <a:gd name="T8" fmla="*/ 5 w 672"/>
                <a:gd name="T9" fmla="*/ 3 h 144"/>
                <a:gd name="T10" fmla="*/ 7 w 672"/>
                <a:gd name="T11" fmla="*/ 2 h 144"/>
                <a:gd name="T12" fmla="*/ 0 w 672"/>
                <a:gd name="T13" fmla="*/ 0 h 144"/>
                <a:gd name="T14" fmla="*/ 0 60000 65536"/>
                <a:gd name="T15" fmla="*/ 0 60000 65536"/>
                <a:gd name="T16" fmla="*/ 0 60000 65536"/>
                <a:gd name="T17" fmla="*/ 0 60000 65536"/>
                <a:gd name="T18" fmla="*/ 0 60000 65536"/>
                <a:gd name="T19" fmla="*/ 0 60000 65536"/>
                <a:gd name="T20" fmla="*/ 0 60000 65536"/>
                <a:gd name="T21" fmla="*/ 0 w 672"/>
                <a:gd name="T22" fmla="*/ 0 h 144"/>
                <a:gd name="T23" fmla="*/ 672 w 672"/>
                <a:gd name="T24" fmla="*/ 144 h 14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72" h="144">
                  <a:moveTo>
                    <a:pt x="0" y="0"/>
                  </a:moveTo>
                  <a:lnTo>
                    <a:pt x="384" y="0"/>
                  </a:lnTo>
                  <a:lnTo>
                    <a:pt x="336" y="96"/>
                  </a:lnTo>
                  <a:lnTo>
                    <a:pt x="672" y="144"/>
                  </a:lnTo>
                  <a:lnTo>
                    <a:pt x="240" y="144"/>
                  </a:lnTo>
                  <a:lnTo>
                    <a:pt x="288" y="48"/>
                  </a:lnTo>
                  <a:lnTo>
                    <a:pt x="0" y="0"/>
                  </a:lnTo>
                  <a:close/>
                </a:path>
              </a:pathLst>
            </a:custGeom>
            <a:solidFill>
              <a:srgbClr val="FFFF66"/>
            </a:solidFill>
            <a:ln w="12700">
              <a:solidFill>
                <a:srgbClr val="000000"/>
              </a:solidFill>
              <a:round/>
              <a:headEnd/>
              <a:tailEnd/>
            </a:ln>
          </p:spPr>
          <p:txBody>
            <a:bodyPr/>
            <a:lstStyle/>
            <a:p>
              <a:endParaRPr lang="ja-JP" altLang="en-US" b="1">
                <a:latin typeface="Times New Roman" charset="0"/>
                <a:cs typeface="Times New Roman" charset="0"/>
              </a:endParaRPr>
            </a:p>
          </p:txBody>
        </p:sp>
        <p:sp>
          <p:nvSpPr>
            <p:cNvPr id="53268" name="Rectangle 20"/>
            <p:cNvSpPr>
              <a:spLocks noChangeArrowheads="1"/>
            </p:cNvSpPr>
            <p:nvPr/>
          </p:nvSpPr>
          <p:spPr bwMode="auto">
            <a:xfrm>
              <a:off x="320" y="2453"/>
              <a:ext cx="374" cy="214"/>
            </a:xfrm>
            <a:prstGeom prst="rect">
              <a:avLst/>
            </a:prstGeom>
            <a:solidFill>
              <a:srgbClr val="FFFF99"/>
            </a:solidFill>
            <a:ln w="9525">
              <a:noFill/>
              <a:miter lim="800000"/>
              <a:headEnd/>
              <a:tailEnd/>
            </a:ln>
            <a:effectLst>
              <a:outerShdw dist="35921" dir="2700000" algn="ctr" rotWithShape="0">
                <a:srgbClr val="808000"/>
              </a:outerShdw>
            </a:effectLst>
          </p:spPr>
          <p:txBody>
            <a:bodyPr wrap="none" lIns="43200" tIns="21600" rIns="43200" bIns="21600">
              <a:spAutoFit/>
            </a:bodyPr>
            <a:lstStyle/>
            <a:p>
              <a:pPr algn="ctr">
                <a:lnSpc>
                  <a:spcPct val="80000"/>
                </a:lnSpc>
                <a:defRPr/>
              </a:pPr>
              <a:r>
                <a:rPr lang="en-US" altLang="ja-JP" sz="1200" b="1" dirty="0">
                  <a:solidFill>
                    <a:srgbClr val="000000"/>
                  </a:solidFill>
                  <a:latin typeface="Times New Roman" pitchFamily="18" charset="0"/>
                  <a:cs typeface="Times New Roman" pitchFamily="18" charset="0"/>
                </a:rPr>
                <a:t>Master </a:t>
              </a:r>
              <a:br>
                <a:rPr lang="en-US" altLang="ja-JP" sz="1200" b="1" dirty="0">
                  <a:solidFill>
                    <a:srgbClr val="000000"/>
                  </a:solidFill>
                  <a:latin typeface="Times New Roman" pitchFamily="18" charset="0"/>
                  <a:cs typeface="Times New Roman" pitchFamily="18" charset="0"/>
                </a:rPr>
              </a:br>
              <a:r>
                <a:rPr lang="en-US" altLang="ja-JP" sz="1200" b="1" dirty="0" err="1">
                  <a:solidFill>
                    <a:srgbClr val="000000"/>
                  </a:solidFill>
                  <a:latin typeface="Times New Roman" pitchFamily="18" charset="0"/>
                  <a:cs typeface="Times New Roman" pitchFamily="18" charset="0"/>
                </a:rPr>
                <a:t>Link</a:t>
              </a:r>
              <a:r>
                <a:rPr lang="en-US" altLang="ja-JP" sz="1200" b="1" baseline="30000" dirty="0" err="1">
                  <a:solidFill>
                    <a:srgbClr val="000000"/>
                  </a:solidFill>
                  <a:latin typeface="Times New Roman" pitchFamily="18" charset="0"/>
                  <a:cs typeface="Times New Roman" pitchFamily="18" charset="0"/>
                </a:rPr>
                <a:t>TM</a:t>
              </a:r>
              <a:endParaRPr lang="en-US" altLang="ja-JP" sz="1200" b="1" baseline="30000" dirty="0">
                <a:solidFill>
                  <a:srgbClr val="000000"/>
                </a:solidFill>
                <a:latin typeface="Times New Roman" pitchFamily="18" charset="0"/>
                <a:cs typeface="Times New Roman" pitchFamily="18" charset="0"/>
              </a:endParaRPr>
            </a:p>
          </p:txBody>
        </p:sp>
        <p:sp>
          <p:nvSpPr>
            <p:cNvPr id="53269" name="Rectangle 21"/>
            <p:cNvSpPr>
              <a:spLocks noChangeArrowheads="1"/>
            </p:cNvSpPr>
            <p:nvPr/>
          </p:nvSpPr>
          <p:spPr bwMode="auto">
            <a:xfrm>
              <a:off x="4033" y="1990"/>
              <a:ext cx="337" cy="214"/>
            </a:xfrm>
            <a:prstGeom prst="rect">
              <a:avLst/>
            </a:prstGeom>
            <a:solidFill>
              <a:srgbClr val="FFFF99"/>
            </a:solidFill>
            <a:ln w="9525">
              <a:noFill/>
              <a:miter lim="800000"/>
              <a:headEnd/>
              <a:tailEnd/>
            </a:ln>
            <a:effectLst>
              <a:outerShdw dist="35921" dir="2700000" algn="ctr" rotWithShape="0">
                <a:srgbClr val="808000"/>
              </a:outerShdw>
            </a:effectLst>
          </p:spPr>
          <p:txBody>
            <a:bodyPr wrap="none" lIns="43200" tIns="21600" rIns="43200" bIns="21600">
              <a:spAutoFit/>
            </a:bodyPr>
            <a:lstStyle/>
            <a:p>
              <a:pPr algn="ctr">
                <a:lnSpc>
                  <a:spcPct val="80000"/>
                </a:lnSpc>
                <a:defRPr/>
              </a:pPr>
              <a:r>
                <a:rPr lang="en-US" altLang="ja-JP" sz="1200" b="1" dirty="0">
                  <a:solidFill>
                    <a:srgbClr val="000000"/>
                  </a:solidFill>
                  <a:latin typeface="Times New Roman" pitchFamily="18" charset="0"/>
                  <a:cs typeface="Times New Roman" pitchFamily="18" charset="0"/>
                </a:rPr>
                <a:t>Water </a:t>
              </a:r>
              <a:br>
                <a:rPr lang="en-US" altLang="ja-JP" sz="1200" b="1" dirty="0">
                  <a:solidFill>
                    <a:srgbClr val="000000"/>
                  </a:solidFill>
                  <a:latin typeface="Times New Roman" pitchFamily="18" charset="0"/>
                  <a:cs typeface="Times New Roman" pitchFamily="18" charset="0"/>
                </a:rPr>
              </a:br>
              <a:r>
                <a:rPr lang="en-US" altLang="ja-JP" sz="1200" b="1" dirty="0">
                  <a:solidFill>
                    <a:srgbClr val="000000"/>
                  </a:solidFill>
                  <a:latin typeface="Times New Roman" pitchFamily="18" charset="0"/>
                  <a:cs typeface="Times New Roman" pitchFamily="18" charset="0"/>
                </a:rPr>
                <a:t>Truck</a:t>
              </a:r>
            </a:p>
          </p:txBody>
        </p:sp>
        <p:sp>
          <p:nvSpPr>
            <p:cNvPr id="53270" name="Rectangle 22"/>
            <p:cNvSpPr>
              <a:spLocks noChangeArrowheads="1"/>
            </p:cNvSpPr>
            <p:nvPr/>
          </p:nvSpPr>
          <p:spPr bwMode="auto">
            <a:xfrm>
              <a:off x="4946" y="2318"/>
              <a:ext cx="363" cy="214"/>
            </a:xfrm>
            <a:prstGeom prst="rect">
              <a:avLst/>
            </a:prstGeom>
            <a:solidFill>
              <a:srgbClr val="FFFF99"/>
            </a:solidFill>
            <a:ln w="9525">
              <a:noFill/>
              <a:miter lim="800000"/>
              <a:headEnd/>
              <a:tailEnd/>
            </a:ln>
            <a:effectLst>
              <a:outerShdw dist="35921" dir="2700000" algn="ctr" rotWithShape="0">
                <a:srgbClr val="808000"/>
              </a:outerShdw>
            </a:effectLst>
          </p:spPr>
          <p:txBody>
            <a:bodyPr wrap="none" lIns="43200" tIns="21600" rIns="43200" bIns="21600">
              <a:spAutoFit/>
            </a:bodyPr>
            <a:lstStyle/>
            <a:p>
              <a:pPr algn="ctr">
                <a:lnSpc>
                  <a:spcPct val="80000"/>
                </a:lnSpc>
                <a:defRPr/>
              </a:pPr>
              <a:r>
                <a:rPr lang="en-US" altLang="ja-JP" sz="1200" b="1" dirty="0">
                  <a:solidFill>
                    <a:srgbClr val="000000"/>
                  </a:solidFill>
                  <a:latin typeface="Times New Roman" pitchFamily="18" charset="0"/>
                  <a:cs typeface="Times New Roman" pitchFamily="18" charset="0"/>
                </a:rPr>
                <a:t>Motor </a:t>
              </a:r>
              <a:br>
                <a:rPr lang="en-US" altLang="ja-JP" sz="1200" b="1" dirty="0">
                  <a:solidFill>
                    <a:srgbClr val="000000"/>
                  </a:solidFill>
                  <a:latin typeface="Times New Roman" pitchFamily="18" charset="0"/>
                  <a:cs typeface="Times New Roman" pitchFamily="18" charset="0"/>
                </a:rPr>
              </a:br>
              <a:r>
                <a:rPr lang="en-US" altLang="ja-JP" sz="1200" b="1" dirty="0">
                  <a:solidFill>
                    <a:srgbClr val="000000"/>
                  </a:solidFill>
                  <a:latin typeface="Times New Roman" pitchFamily="18" charset="0"/>
                  <a:cs typeface="Times New Roman" pitchFamily="18" charset="0"/>
                </a:rPr>
                <a:t>Grader</a:t>
              </a:r>
            </a:p>
          </p:txBody>
        </p:sp>
        <p:sp>
          <p:nvSpPr>
            <p:cNvPr id="53271" name="Rectangle 23"/>
            <p:cNvSpPr>
              <a:spLocks noChangeArrowheads="1"/>
            </p:cNvSpPr>
            <p:nvPr/>
          </p:nvSpPr>
          <p:spPr bwMode="auto">
            <a:xfrm>
              <a:off x="509" y="3512"/>
              <a:ext cx="397" cy="214"/>
            </a:xfrm>
            <a:prstGeom prst="rect">
              <a:avLst/>
            </a:prstGeom>
            <a:solidFill>
              <a:srgbClr val="FFFF99"/>
            </a:solidFill>
            <a:ln w="9525">
              <a:noFill/>
              <a:miter lim="800000"/>
              <a:headEnd/>
              <a:tailEnd/>
            </a:ln>
            <a:effectLst>
              <a:outerShdw dist="35921" dir="2700000" algn="ctr" rotWithShape="0">
                <a:srgbClr val="808000"/>
              </a:outerShdw>
            </a:effectLst>
          </p:spPr>
          <p:txBody>
            <a:bodyPr wrap="none" lIns="43200" tIns="21600" rIns="43200" bIns="21600">
              <a:spAutoFit/>
            </a:bodyPr>
            <a:lstStyle/>
            <a:p>
              <a:pPr algn="ctr">
                <a:lnSpc>
                  <a:spcPct val="80000"/>
                </a:lnSpc>
                <a:defRPr/>
              </a:pPr>
              <a:r>
                <a:rPr lang="en-US" altLang="ja-JP" sz="1200" b="1" dirty="0">
                  <a:solidFill>
                    <a:srgbClr val="000000"/>
                  </a:solidFill>
                  <a:latin typeface="Times New Roman" pitchFamily="18" charset="0"/>
                  <a:cs typeface="Times New Roman" pitchFamily="18" charset="0"/>
                </a:rPr>
                <a:t>Central </a:t>
              </a:r>
              <a:br>
                <a:rPr lang="en-US" altLang="ja-JP" sz="1200" b="1" dirty="0">
                  <a:solidFill>
                    <a:srgbClr val="000000"/>
                  </a:solidFill>
                  <a:latin typeface="Times New Roman" pitchFamily="18" charset="0"/>
                  <a:cs typeface="Times New Roman" pitchFamily="18" charset="0"/>
                </a:rPr>
              </a:br>
              <a:r>
                <a:rPr lang="en-US" altLang="ja-JP" sz="1200" b="1" dirty="0">
                  <a:solidFill>
                    <a:srgbClr val="000000"/>
                  </a:solidFill>
                  <a:latin typeface="Times New Roman" pitchFamily="18" charset="0"/>
                  <a:cs typeface="Times New Roman" pitchFamily="18" charset="0"/>
                </a:rPr>
                <a:t>Office</a:t>
              </a:r>
            </a:p>
          </p:txBody>
        </p:sp>
      </p:grpSp>
      <p:sp>
        <p:nvSpPr>
          <p:cNvPr id="30724" name="Rectangle 26"/>
          <p:cNvSpPr>
            <a:spLocks noChangeArrowheads="1"/>
          </p:cNvSpPr>
          <p:nvPr/>
        </p:nvSpPr>
        <p:spPr bwMode="auto">
          <a:xfrm>
            <a:off x="1403350" y="620688"/>
            <a:ext cx="6154738" cy="369888"/>
          </a:xfrm>
          <a:prstGeom prst="rect">
            <a:avLst/>
          </a:prstGeom>
          <a:solidFill>
            <a:schemeClr val="bg1"/>
          </a:solidFill>
          <a:ln w="9525">
            <a:noFill/>
            <a:miter lim="800000"/>
            <a:headEnd/>
            <a:tailEnd/>
          </a:ln>
        </p:spPr>
        <p:txBody>
          <a:bodyPr>
            <a:spAutoFit/>
          </a:bodyPr>
          <a:lstStyle/>
          <a:p>
            <a:pPr algn="ctr">
              <a:lnSpc>
                <a:spcPct val="90000"/>
              </a:lnSpc>
            </a:pPr>
            <a:r>
              <a:rPr lang="en-US" altLang="ja-JP" sz="2000" b="1" dirty="0">
                <a:solidFill>
                  <a:srgbClr val="000080"/>
                </a:solidFill>
                <a:latin typeface="Times New Roman" charset="0"/>
                <a:cs typeface="Times New Roman" charset="0"/>
              </a:rPr>
              <a:t>How Komatsu’s Autonomous Haulage System Works </a:t>
            </a:r>
          </a:p>
        </p:txBody>
      </p:sp>
      <p:sp>
        <p:nvSpPr>
          <p:cNvPr id="30725" name="Rectangle 25"/>
          <p:cNvSpPr>
            <a:spLocks noGrp="1" noChangeArrowheads="1"/>
          </p:cNvSpPr>
          <p:nvPr>
            <p:ph type="title"/>
          </p:nvPr>
        </p:nvSpPr>
        <p:spPr bwMode="auto">
          <a:xfrm>
            <a:off x="251519" y="102592"/>
            <a:ext cx="7576443" cy="446088"/>
          </a:xfrm>
          <a:solidFill>
            <a:schemeClr val="bg1"/>
          </a:solidFill>
          <a:ln>
            <a:miter lim="800000"/>
            <a:headEnd/>
            <a:tailEnd/>
          </a:ln>
        </p:spPr>
        <p:txBody>
          <a:bodyPr vert="horz" wrap="square" lIns="91440" tIns="45720" rIns="91440" bIns="45720" numCol="1" anchor="t" anchorCtr="0" compatLnSpc="1">
            <a:prstTxWarp prst="textNoShape">
              <a:avLst/>
            </a:prstTxWarp>
            <a:normAutofit fontScale="90000"/>
          </a:bodyPr>
          <a:lstStyle/>
          <a:p>
            <a:pPr algn="ctr"/>
            <a:r>
              <a:rPr lang="en-US" altLang="ja-JP" sz="2800" b="1" dirty="0" smtClean="0">
                <a:solidFill>
                  <a:srgbClr val="2F813D"/>
                </a:solidFill>
                <a:latin typeface="Times New Roman" charset="0"/>
                <a:cs typeface="Times New Roman" charset="0"/>
              </a:rPr>
              <a:t>High Technologies </a:t>
            </a:r>
            <a:r>
              <a:rPr lang="en-US" altLang="ja-JP" sz="2800" b="1" dirty="0" smtClean="0">
                <a:solidFill>
                  <a:srgbClr val="000099"/>
                </a:solidFill>
                <a:latin typeface="Times New Roman" charset="0"/>
                <a:cs typeface="Times New Roman" charset="0"/>
              </a:rPr>
              <a:t>(AHS) –Unmanned Dump Trucks </a:t>
            </a:r>
          </a:p>
        </p:txBody>
      </p:sp>
      <p:sp>
        <p:nvSpPr>
          <p:cNvPr id="30727" name="スライド番号プレースホルダ 29"/>
          <p:cNvSpPr>
            <a:spLocks noGrp="1"/>
          </p:cNvSpPr>
          <p:nvPr>
            <p:ph type="sldNum" sz="quarter" idx="4294967295"/>
          </p:nvPr>
        </p:nvSpPr>
        <p:spPr bwMode="auto">
          <a:xfrm>
            <a:off x="3124200" y="6356350"/>
            <a:ext cx="2895600" cy="365125"/>
          </a:xfrm>
          <a:prstGeom prst="rect">
            <a:avLst/>
          </a:prstGeom>
          <a:noFill/>
          <a:ln>
            <a:miter lim="800000"/>
            <a:headEnd/>
            <a:tailEnd/>
          </a:ln>
        </p:spPr>
        <p:txBody>
          <a:bodyPr/>
          <a:lstStyle/>
          <a:p>
            <a:fld id="{DBF2ADB8-ACF9-4B16-91DE-D45FB357EB57}" type="slidenum">
              <a:rPr lang="en-US" altLang="ja-JP"/>
              <a:pPr/>
              <a:t>14</a:t>
            </a:fld>
            <a:endParaRPr lang="en-US" altLang="ja-JP"/>
          </a:p>
        </p:txBody>
      </p:sp>
    </p:spTree>
    <p:extLst>
      <p:ext uri="{BB962C8B-B14F-4D97-AF65-F5344CB8AC3E}">
        <p14:creationId xmlns:p14="http://schemas.microsoft.com/office/powerpoint/2010/main" val="4020722703"/>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9" presetClass="entr" presetSubtype="0" fill="hold"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dissolve">
                                      <p:cBhvr>
                                        <p:cTn id="7"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Date Placeholder 4"/>
          <p:cNvSpPr>
            <a:spLocks noGrp="1"/>
          </p:cNvSpPr>
          <p:nvPr>
            <p:ph type="dt" sz="half" idx="4294967295"/>
          </p:nvPr>
        </p:nvSpPr>
        <p:spPr>
          <a:xfrm>
            <a:off x="152400" y="6534150"/>
            <a:ext cx="2133600" cy="323850"/>
          </a:xfrm>
          <a:prstGeom prst="rect">
            <a:avLst/>
          </a:prstGeom>
        </p:spPr>
        <p:txBody>
          <a:bodyPr/>
          <a:lstStyle/>
          <a:p>
            <a:r>
              <a:rPr lang="en-US"/>
              <a:t>September 2009</a:t>
            </a:r>
          </a:p>
        </p:txBody>
      </p:sp>
      <p:sp>
        <p:nvSpPr>
          <p:cNvPr id="317442" name="Rectangle 2"/>
          <p:cNvSpPr>
            <a:spLocks noGrp="1" noChangeArrowheads="1"/>
          </p:cNvSpPr>
          <p:nvPr>
            <p:ph type="title"/>
          </p:nvPr>
        </p:nvSpPr>
        <p:spPr>
          <a:xfrm>
            <a:off x="72008" y="32866"/>
            <a:ext cx="5940152" cy="731838"/>
          </a:xfrm>
        </p:spPr>
        <p:txBody>
          <a:bodyPr/>
          <a:lstStyle/>
          <a:p>
            <a:r>
              <a:rPr lang="en-US" altLang="zh-CN" sz="4000" b="1" dirty="0">
                <a:solidFill>
                  <a:schemeClr val="bg1"/>
                </a:solidFill>
                <a:effectLst>
                  <a:outerShdw blurRad="38100" dist="38100" dir="2700000" algn="tl">
                    <a:srgbClr val="C0C0C0"/>
                  </a:outerShdw>
                </a:effectLst>
              </a:rPr>
              <a:t>Trolley </a:t>
            </a:r>
            <a:r>
              <a:rPr lang="en-US" altLang="zh-CN" sz="4000" b="1" dirty="0" smtClean="0">
                <a:solidFill>
                  <a:schemeClr val="bg1"/>
                </a:solidFill>
                <a:effectLst>
                  <a:outerShdw blurRad="38100" dist="38100" dir="2700000" algn="tl">
                    <a:srgbClr val="C0C0C0"/>
                  </a:outerShdw>
                </a:effectLst>
              </a:rPr>
              <a:t>Assist</a:t>
            </a:r>
            <a:endParaRPr lang="en-US" altLang="zh-CN" sz="4000" b="1" dirty="0">
              <a:solidFill>
                <a:schemeClr val="bg1"/>
              </a:solidFill>
              <a:effectLst>
                <a:outerShdw blurRad="38100" dist="38100" dir="2700000" algn="tl">
                  <a:srgbClr val="C0C0C0"/>
                </a:outerShdw>
              </a:effectLst>
            </a:endParaRPr>
          </a:p>
        </p:txBody>
      </p:sp>
      <p:sp>
        <p:nvSpPr>
          <p:cNvPr id="317443" name="Rectangle 3"/>
          <p:cNvSpPr>
            <a:spLocks noGrp="1" noChangeArrowheads="1"/>
          </p:cNvSpPr>
          <p:nvPr>
            <p:ph type="body" idx="1"/>
          </p:nvPr>
        </p:nvSpPr>
        <p:spPr>
          <a:xfrm>
            <a:off x="3491880" y="908720"/>
            <a:ext cx="5050904" cy="5256584"/>
          </a:xfrm>
          <a:ln>
            <a:solidFill>
              <a:schemeClr val="tx2"/>
            </a:solidFill>
          </a:ln>
        </p:spPr>
        <p:txBody>
          <a:bodyPr/>
          <a:lstStyle/>
          <a:p>
            <a:pPr>
              <a:lnSpc>
                <a:spcPts val="2800"/>
              </a:lnSpc>
            </a:pPr>
            <a:r>
              <a:rPr lang="en-US" altLang="zh-CN" sz="2000" b="1" dirty="0">
                <a:solidFill>
                  <a:schemeClr val="tx1"/>
                </a:solidFill>
              </a:rPr>
              <a:t>Power Supply from a Transmission Line rather than a Diesel </a:t>
            </a:r>
            <a:r>
              <a:rPr lang="en-US" altLang="zh-CN" sz="2000" b="1" dirty="0" smtClean="0">
                <a:solidFill>
                  <a:schemeClr val="tx1"/>
                </a:solidFill>
              </a:rPr>
              <a:t>Engine</a:t>
            </a:r>
            <a:endParaRPr lang="en-US" altLang="zh-CN" sz="2000" b="1" dirty="0">
              <a:solidFill>
                <a:schemeClr val="tx1"/>
              </a:solidFill>
            </a:endParaRPr>
          </a:p>
          <a:p>
            <a:pPr>
              <a:lnSpc>
                <a:spcPts val="2800"/>
              </a:lnSpc>
            </a:pPr>
            <a:r>
              <a:rPr lang="en-US" altLang="zh-CN" sz="2000" b="1" dirty="0" smtClean="0">
                <a:solidFill>
                  <a:schemeClr val="tx1"/>
                </a:solidFill>
              </a:rPr>
              <a:t>Benefits</a:t>
            </a:r>
            <a:endParaRPr lang="en-US" altLang="zh-CN" sz="2000" b="1" dirty="0">
              <a:solidFill>
                <a:schemeClr val="tx1"/>
              </a:solidFill>
            </a:endParaRPr>
          </a:p>
          <a:p>
            <a:pPr lvl="1">
              <a:lnSpc>
                <a:spcPts val="2800"/>
              </a:lnSpc>
            </a:pPr>
            <a:r>
              <a:rPr lang="en-US" altLang="zh-CN" sz="2000" b="1" dirty="0">
                <a:solidFill>
                  <a:schemeClr val="tx1"/>
                </a:solidFill>
              </a:rPr>
              <a:t>Increased Productivity</a:t>
            </a:r>
          </a:p>
          <a:p>
            <a:pPr lvl="1">
              <a:lnSpc>
                <a:spcPts val="2800"/>
              </a:lnSpc>
            </a:pPr>
            <a:r>
              <a:rPr lang="en-US" altLang="zh-CN" sz="2000" b="1" dirty="0">
                <a:solidFill>
                  <a:schemeClr val="tx1"/>
                </a:solidFill>
              </a:rPr>
              <a:t>Lower Fuel Consumption</a:t>
            </a:r>
          </a:p>
          <a:p>
            <a:pPr lvl="1">
              <a:lnSpc>
                <a:spcPts val="2800"/>
              </a:lnSpc>
            </a:pPr>
            <a:r>
              <a:rPr lang="en-US" altLang="zh-CN" sz="2000" b="1" dirty="0">
                <a:solidFill>
                  <a:schemeClr val="tx1"/>
                </a:solidFill>
              </a:rPr>
              <a:t>Higher Speed on </a:t>
            </a:r>
            <a:r>
              <a:rPr lang="en-US" altLang="zh-CN" sz="2000" b="1" dirty="0" smtClean="0">
                <a:solidFill>
                  <a:schemeClr val="tx1"/>
                </a:solidFill>
              </a:rPr>
              <a:t>Grade</a:t>
            </a:r>
            <a:endParaRPr lang="en-US" altLang="zh-CN" sz="2000" b="1" dirty="0">
              <a:solidFill>
                <a:schemeClr val="tx1"/>
              </a:solidFill>
            </a:endParaRPr>
          </a:p>
          <a:p>
            <a:pPr>
              <a:lnSpc>
                <a:spcPts val="2800"/>
              </a:lnSpc>
            </a:pPr>
            <a:r>
              <a:rPr lang="en-US" altLang="zh-CN" sz="2000" b="1" dirty="0">
                <a:solidFill>
                  <a:schemeClr val="tx1"/>
                </a:solidFill>
              </a:rPr>
              <a:t>Typical Application:</a:t>
            </a:r>
          </a:p>
          <a:p>
            <a:pPr lvl="1">
              <a:lnSpc>
                <a:spcPts val="2800"/>
              </a:lnSpc>
            </a:pPr>
            <a:r>
              <a:rPr lang="en-US" altLang="zh-CN" sz="2000" b="1" dirty="0">
                <a:solidFill>
                  <a:schemeClr val="tx1"/>
                </a:solidFill>
              </a:rPr>
              <a:t>Uphill Haul Segments</a:t>
            </a:r>
          </a:p>
          <a:p>
            <a:pPr lvl="1">
              <a:lnSpc>
                <a:spcPts val="2800"/>
              </a:lnSpc>
            </a:pPr>
            <a:r>
              <a:rPr lang="en-US" altLang="zh-CN" sz="2000" b="1" dirty="0">
                <a:solidFill>
                  <a:schemeClr val="tx1"/>
                </a:solidFill>
              </a:rPr>
              <a:t>Established Travel Routes</a:t>
            </a:r>
          </a:p>
          <a:p>
            <a:pPr lvl="1">
              <a:lnSpc>
                <a:spcPts val="2800"/>
              </a:lnSpc>
            </a:pPr>
            <a:r>
              <a:rPr lang="en-US" altLang="zh-CN" sz="2000" b="1" dirty="0">
                <a:solidFill>
                  <a:schemeClr val="tx1"/>
                </a:solidFill>
              </a:rPr>
              <a:t>Large Diesel Fuel vs. Electric Power Cost   </a:t>
            </a:r>
            <a:r>
              <a:rPr lang="en-US" altLang="zh-CN" sz="2000" b="1" dirty="0" smtClean="0">
                <a:solidFill>
                  <a:schemeClr val="tx1"/>
                </a:solidFill>
              </a:rPr>
              <a:t>Difference</a:t>
            </a:r>
            <a:endParaRPr lang="en-US" altLang="zh-CN" sz="2000" b="1" dirty="0">
              <a:solidFill>
                <a:schemeClr val="tx1"/>
              </a:solidFill>
            </a:endParaRPr>
          </a:p>
          <a:p>
            <a:pPr>
              <a:lnSpc>
                <a:spcPts val="2800"/>
              </a:lnSpc>
            </a:pPr>
            <a:r>
              <a:rPr lang="en-US" altLang="zh-CN" sz="2000" b="1" dirty="0">
                <a:solidFill>
                  <a:schemeClr val="tx1"/>
                </a:solidFill>
              </a:rPr>
              <a:t>&gt;  100 Operating Trucks </a:t>
            </a:r>
            <a:r>
              <a:rPr lang="en-US" altLang="zh-CN" sz="2000" b="1" dirty="0" smtClean="0">
                <a:solidFill>
                  <a:schemeClr val="tx1"/>
                </a:solidFill>
              </a:rPr>
              <a:t>Worldwide</a:t>
            </a:r>
            <a:endParaRPr lang="en-US" altLang="zh-CN" sz="2000" b="1" dirty="0">
              <a:solidFill>
                <a:schemeClr val="tx1"/>
              </a:solidFill>
            </a:endParaRPr>
          </a:p>
        </p:txBody>
      </p:sp>
      <p:pic>
        <p:nvPicPr>
          <p:cNvPr id="317444"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67544" y="764704"/>
            <a:ext cx="2306042" cy="2736304"/>
          </a:xfrm>
          <a:prstGeom prst="rect">
            <a:avLst/>
          </a:prstGeom>
          <a:noFill/>
          <a:ln>
            <a:noFill/>
          </a:ln>
          <a:effectLst/>
          <a:extLst>
            <a:ext uri="{909E8E84-426E-40DD-AFC4-6F175D3DCCD1}">
              <a14:hiddenFill xmlns:a14="http://schemas.microsoft.com/office/drawing/2010/main">
                <a:solidFill>
                  <a:srgbClr val="FF0000"/>
                </a:solidFill>
              </a14:hiddenFill>
            </a:ext>
            <a:ext uri="{91240B29-F687-4F45-9708-019B960494DF}">
              <a14:hiddenLine xmlns:a14="http://schemas.microsoft.com/office/drawing/2010/main" w="9525" algn="ctr">
                <a:solidFill>
                  <a:srgbClr val="FF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7" name="Picture 4" descr="IMG_0888"/>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39552" y="3573016"/>
            <a:ext cx="2234035" cy="271933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56932900"/>
      </p:ext>
    </p:extLst>
  </p:cSld>
  <p:clrMapOvr>
    <a:masterClrMapping/>
  </p:clrMapOvr>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 name="Slide Number Placeholder 4"/>
          <p:cNvSpPr>
            <a:spLocks noGrp="1"/>
          </p:cNvSpPr>
          <p:nvPr>
            <p:ph type="sldNum" sz="quarter" idx="10"/>
          </p:nvPr>
        </p:nvSpPr>
        <p:spPr/>
        <p:txBody>
          <a:bodyPr/>
          <a:lstStyle/>
          <a:p>
            <a:fld id="{A6E03B6A-E781-41F6-BC61-57630429C233}" type="slidenum">
              <a:rPr lang="en-US"/>
              <a:pPr/>
              <a:t>16</a:t>
            </a:fld>
            <a:endParaRPr lang="en-US"/>
          </a:p>
          <a:p>
            <a:r>
              <a:rPr lang="en-US" sz="1200" i="1">
                <a:solidFill>
                  <a:srgbClr val="FF0000"/>
                </a:solidFill>
              </a:rPr>
              <a:t>Komatsu Confidential</a:t>
            </a:r>
          </a:p>
        </p:txBody>
      </p:sp>
      <p:sp>
        <p:nvSpPr>
          <p:cNvPr id="42" name="Date Placeholder 5"/>
          <p:cNvSpPr>
            <a:spLocks noGrp="1"/>
          </p:cNvSpPr>
          <p:nvPr>
            <p:ph type="dt" sz="half" idx="4294967295"/>
          </p:nvPr>
        </p:nvSpPr>
        <p:spPr>
          <a:xfrm>
            <a:off x="152400" y="6534150"/>
            <a:ext cx="2133600" cy="323850"/>
          </a:xfrm>
          <a:prstGeom prst="rect">
            <a:avLst/>
          </a:prstGeom>
        </p:spPr>
        <p:txBody>
          <a:bodyPr/>
          <a:lstStyle/>
          <a:p>
            <a:r>
              <a:rPr lang="en-US"/>
              <a:t>September 2009</a:t>
            </a:r>
          </a:p>
        </p:txBody>
      </p:sp>
      <p:sp>
        <p:nvSpPr>
          <p:cNvPr id="311298" name="Rectangle 2"/>
          <p:cNvSpPr>
            <a:spLocks noChangeArrowheads="1"/>
          </p:cNvSpPr>
          <p:nvPr/>
        </p:nvSpPr>
        <p:spPr bwMode="auto">
          <a:xfrm>
            <a:off x="1552575" y="2174875"/>
            <a:ext cx="6105525" cy="3290888"/>
          </a:xfrm>
          <a:prstGeom prst="rect">
            <a:avLst/>
          </a:prstGeom>
          <a:solidFill>
            <a:srgbClr val="969696"/>
          </a:solidFill>
          <a:ln>
            <a:noFill/>
          </a:ln>
          <a:effectLst/>
          <a:extLst>
            <a:ext uri="{91240B29-F687-4F45-9708-019B960494DF}">
              <a14:hiddenLine xmlns:a14="http://schemas.microsoft.com/office/drawing/2010/main" w="9525" algn="ctr">
                <a:solidFill>
                  <a:srgbClr val="FF66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pPr algn="ctr">
              <a:spcBef>
                <a:spcPct val="50000"/>
              </a:spcBef>
            </a:pPr>
            <a:endParaRPr lang="en-US" altLang="zh-CN"/>
          </a:p>
        </p:txBody>
      </p:sp>
      <p:graphicFrame>
        <p:nvGraphicFramePr>
          <p:cNvPr id="311299" name="Object 3"/>
          <p:cNvGraphicFramePr>
            <a:graphicFrameLocks noGrp="1" noChangeAspect="1"/>
          </p:cNvGraphicFramePr>
          <p:nvPr>
            <p:ph sz="half" idx="1"/>
          </p:nvPr>
        </p:nvGraphicFramePr>
        <p:xfrm>
          <a:off x="1447800" y="1620838"/>
          <a:ext cx="6353175" cy="3941762"/>
        </p:xfrm>
        <a:graphic>
          <a:graphicData uri="http://schemas.openxmlformats.org/presentationml/2006/ole">
            <mc:AlternateContent xmlns:mc="http://schemas.openxmlformats.org/markup-compatibility/2006">
              <mc:Choice xmlns:v="urn:schemas-microsoft-com:vml" Requires="v">
                <p:oleObj spid="_x0000_s12296" name="Chart" r:id="rId4" imgW="7877057" imgH="5124585" progId="MSGraph.Chart.8">
                  <p:embed followColorScheme="full"/>
                </p:oleObj>
              </mc:Choice>
              <mc:Fallback>
                <p:oleObj name="Chart" r:id="rId4" imgW="7877057" imgH="5124585" progId="MSGraph.Chart.8">
                  <p:embed followColorScheme="full"/>
                  <p:pic>
                    <p:nvPicPr>
                      <p:cNvPr id="0" name=""/>
                      <p:cNvPicPr>
                        <a:picLocks noChangeAspect="1" noChangeArrowheads="1"/>
                      </p:cNvPicPr>
                      <p:nvPr/>
                    </p:nvPicPr>
                    <p:blipFill>
                      <a:blip r:embed="rId5"/>
                      <a:srcRect/>
                      <a:stretch>
                        <a:fillRect/>
                      </a:stretch>
                    </p:blipFill>
                    <p:spPr bwMode="auto">
                      <a:xfrm>
                        <a:off x="1447800" y="1620838"/>
                        <a:ext cx="6353175" cy="39417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aphicFrame>
        <p:nvGraphicFramePr>
          <p:cNvPr id="311300" name="Object 4"/>
          <p:cNvGraphicFramePr>
            <a:graphicFrameLocks noGrp="1" noChangeAspect="1"/>
          </p:cNvGraphicFramePr>
          <p:nvPr>
            <p:ph sz="half" idx="2"/>
          </p:nvPr>
        </p:nvGraphicFramePr>
        <p:xfrm>
          <a:off x="1371600" y="1600200"/>
          <a:ext cx="6445250" cy="4041775"/>
        </p:xfrm>
        <a:graphic>
          <a:graphicData uri="http://schemas.openxmlformats.org/presentationml/2006/ole">
            <mc:AlternateContent xmlns:mc="http://schemas.openxmlformats.org/markup-compatibility/2006">
              <mc:Choice xmlns:v="urn:schemas-microsoft-com:vml" Requires="v">
                <p:oleObj spid="_x0000_s12297" name="Chart" r:id="rId6" imgW="7877057" imgH="5124585" progId="MSGraph.Chart.8">
                  <p:embed followColorScheme="full"/>
                </p:oleObj>
              </mc:Choice>
              <mc:Fallback>
                <p:oleObj name="Chart" r:id="rId6" imgW="7877057" imgH="5124585" progId="MSGraph.Chart.8">
                  <p:embed followColorScheme="full"/>
                  <p:pic>
                    <p:nvPicPr>
                      <p:cNvPr id="0" name=""/>
                      <p:cNvPicPr>
                        <a:picLocks noChangeAspect="1" noChangeArrowheads="1"/>
                      </p:cNvPicPr>
                      <p:nvPr/>
                    </p:nvPicPr>
                    <p:blipFill>
                      <a:blip r:embed="rId7"/>
                      <a:srcRect/>
                      <a:stretch>
                        <a:fillRect/>
                      </a:stretch>
                    </p:blipFill>
                    <p:spPr bwMode="auto">
                      <a:xfrm>
                        <a:off x="1371600" y="1600200"/>
                        <a:ext cx="6445250" cy="4041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11301" name="Line 5"/>
          <p:cNvSpPr>
            <a:spLocks noChangeShapeType="1"/>
          </p:cNvSpPr>
          <p:nvPr/>
        </p:nvSpPr>
        <p:spPr bwMode="auto">
          <a:xfrm flipV="1">
            <a:off x="1524000" y="1781175"/>
            <a:ext cx="0" cy="3733800"/>
          </a:xfrm>
          <a:prstGeom prst="line">
            <a:avLst/>
          </a:prstGeom>
          <a:noFill/>
          <a:ln w="63500">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endParaRPr lang="en-IN"/>
          </a:p>
        </p:txBody>
      </p:sp>
      <p:sp>
        <p:nvSpPr>
          <p:cNvPr id="311302" name="Text Box 6"/>
          <p:cNvSpPr txBox="1">
            <a:spLocks noChangeArrowheads="1"/>
          </p:cNvSpPr>
          <p:nvPr/>
        </p:nvSpPr>
        <p:spPr bwMode="auto">
          <a:xfrm>
            <a:off x="642938" y="4495800"/>
            <a:ext cx="728662" cy="3667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a:spcBef>
                <a:spcPct val="50000"/>
              </a:spcBef>
            </a:pPr>
            <a:r>
              <a:rPr lang="en-US" altLang="zh-CN" b="1" dirty="0"/>
              <a:t>0.05</a:t>
            </a:r>
          </a:p>
        </p:txBody>
      </p:sp>
      <p:sp>
        <p:nvSpPr>
          <p:cNvPr id="311303" name="Text Box 7"/>
          <p:cNvSpPr txBox="1">
            <a:spLocks noChangeArrowheads="1"/>
          </p:cNvSpPr>
          <p:nvPr/>
        </p:nvSpPr>
        <p:spPr bwMode="auto">
          <a:xfrm>
            <a:off x="642938" y="3671888"/>
            <a:ext cx="728662" cy="3667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a:spcBef>
                <a:spcPct val="50000"/>
              </a:spcBef>
            </a:pPr>
            <a:r>
              <a:rPr lang="en-US" altLang="zh-CN" b="1" dirty="0"/>
              <a:t>0.10</a:t>
            </a:r>
          </a:p>
        </p:txBody>
      </p:sp>
      <p:sp>
        <p:nvSpPr>
          <p:cNvPr id="311304" name="Text Box 8"/>
          <p:cNvSpPr txBox="1">
            <a:spLocks noChangeArrowheads="1"/>
          </p:cNvSpPr>
          <p:nvPr/>
        </p:nvSpPr>
        <p:spPr bwMode="auto">
          <a:xfrm>
            <a:off x="533400" y="2819400"/>
            <a:ext cx="838200" cy="3667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a:spcBef>
                <a:spcPct val="50000"/>
              </a:spcBef>
            </a:pPr>
            <a:r>
              <a:rPr lang="en-US" altLang="zh-CN" b="1"/>
              <a:t>0.15</a:t>
            </a:r>
          </a:p>
        </p:txBody>
      </p:sp>
      <p:sp>
        <p:nvSpPr>
          <p:cNvPr id="311305" name="Text Box 9"/>
          <p:cNvSpPr txBox="1">
            <a:spLocks noChangeArrowheads="1"/>
          </p:cNvSpPr>
          <p:nvPr/>
        </p:nvSpPr>
        <p:spPr bwMode="auto">
          <a:xfrm>
            <a:off x="533400" y="1981200"/>
            <a:ext cx="838200" cy="3667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a:spcBef>
                <a:spcPct val="50000"/>
              </a:spcBef>
            </a:pPr>
            <a:r>
              <a:rPr lang="en-US" altLang="zh-CN" b="1" dirty="0"/>
              <a:t>0.20</a:t>
            </a:r>
          </a:p>
        </p:txBody>
      </p:sp>
      <p:sp>
        <p:nvSpPr>
          <p:cNvPr id="311306" name="Text Box 10"/>
          <p:cNvSpPr txBox="1">
            <a:spLocks noChangeArrowheads="1"/>
          </p:cNvSpPr>
          <p:nvPr/>
        </p:nvSpPr>
        <p:spPr bwMode="auto">
          <a:xfrm rot="16200000">
            <a:off x="-138906" y="3256756"/>
            <a:ext cx="1149350" cy="4143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lgn="ctr">
              <a:lnSpc>
                <a:spcPct val="50000"/>
              </a:lnSpc>
              <a:spcBef>
                <a:spcPct val="50000"/>
              </a:spcBef>
            </a:pPr>
            <a:r>
              <a:rPr lang="en-US" altLang="zh-CN" b="1"/>
              <a:t>Power</a:t>
            </a:r>
          </a:p>
          <a:p>
            <a:pPr algn="ctr">
              <a:lnSpc>
                <a:spcPct val="50000"/>
              </a:lnSpc>
              <a:spcBef>
                <a:spcPct val="50000"/>
              </a:spcBef>
            </a:pPr>
            <a:r>
              <a:rPr lang="en-US" altLang="zh-CN" sz="1200" b="1"/>
              <a:t>($/kwh)</a:t>
            </a:r>
          </a:p>
        </p:txBody>
      </p:sp>
      <p:sp>
        <p:nvSpPr>
          <p:cNvPr id="311307" name="Line 11"/>
          <p:cNvSpPr>
            <a:spLocks noChangeShapeType="1"/>
          </p:cNvSpPr>
          <p:nvPr/>
        </p:nvSpPr>
        <p:spPr bwMode="auto">
          <a:xfrm>
            <a:off x="1524000" y="5486400"/>
            <a:ext cx="6172200" cy="0"/>
          </a:xfrm>
          <a:prstGeom prst="line">
            <a:avLst/>
          </a:prstGeom>
          <a:noFill/>
          <a:ln w="63500">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spAutoFit/>
          </a:bodyPr>
          <a:lstStyle/>
          <a:p>
            <a:endParaRPr lang="en-IN"/>
          </a:p>
        </p:txBody>
      </p:sp>
      <p:sp>
        <p:nvSpPr>
          <p:cNvPr id="311308" name="Text Box 12"/>
          <p:cNvSpPr txBox="1">
            <a:spLocks noChangeArrowheads="1"/>
          </p:cNvSpPr>
          <p:nvPr/>
        </p:nvSpPr>
        <p:spPr bwMode="auto">
          <a:xfrm>
            <a:off x="1219200" y="5500688"/>
            <a:ext cx="311150" cy="3667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a:spcBef>
                <a:spcPct val="50000"/>
              </a:spcBef>
            </a:pPr>
            <a:r>
              <a:rPr lang="en-US" altLang="zh-CN" b="1"/>
              <a:t>0</a:t>
            </a:r>
          </a:p>
        </p:txBody>
      </p:sp>
      <p:sp>
        <p:nvSpPr>
          <p:cNvPr id="311309" name="Text Box 13"/>
          <p:cNvSpPr txBox="1">
            <a:spLocks noChangeArrowheads="1"/>
          </p:cNvSpPr>
          <p:nvPr/>
        </p:nvSpPr>
        <p:spPr bwMode="auto">
          <a:xfrm>
            <a:off x="3727450" y="6167438"/>
            <a:ext cx="900113" cy="4143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algn="ctr">
              <a:lnSpc>
                <a:spcPct val="50000"/>
              </a:lnSpc>
              <a:spcBef>
                <a:spcPct val="50000"/>
              </a:spcBef>
            </a:pPr>
            <a:r>
              <a:rPr lang="en-US" altLang="zh-CN" b="1"/>
              <a:t>Diesel</a:t>
            </a:r>
            <a:r>
              <a:rPr lang="en-US" altLang="zh-CN" sz="1200" b="1"/>
              <a:t> </a:t>
            </a:r>
          </a:p>
          <a:p>
            <a:pPr algn="ctr">
              <a:lnSpc>
                <a:spcPct val="50000"/>
              </a:lnSpc>
              <a:spcBef>
                <a:spcPct val="50000"/>
              </a:spcBef>
            </a:pPr>
            <a:r>
              <a:rPr lang="en-US" altLang="zh-CN" sz="1200" b="1"/>
              <a:t>($/liter)</a:t>
            </a:r>
          </a:p>
        </p:txBody>
      </p:sp>
      <p:sp>
        <p:nvSpPr>
          <p:cNvPr id="311310" name="Text Box 14"/>
          <p:cNvSpPr txBox="1">
            <a:spLocks noChangeArrowheads="1"/>
          </p:cNvSpPr>
          <p:nvPr/>
        </p:nvSpPr>
        <p:spPr bwMode="auto">
          <a:xfrm>
            <a:off x="1885950" y="5500688"/>
            <a:ext cx="628650" cy="3667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a:spcBef>
                <a:spcPct val="50000"/>
              </a:spcBef>
            </a:pPr>
            <a:r>
              <a:rPr lang="en-US" altLang="zh-CN" b="1"/>
              <a:t>0.20</a:t>
            </a:r>
          </a:p>
        </p:txBody>
      </p:sp>
      <p:sp>
        <p:nvSpPr>
          <p:cNvPr id="311311" name="Text Box 15"/>
          <p:cNvSpPr txBox="1">
            <a:spLocks noChangeArrowheads="1"/>
          </p:cNvSpPr>
          <p:nvPr/>
        </p:nvSpPr>
        <p:spPr bwMode="auto">
          <a:xfrm>
            <a:off x="2952750" y="5500688"/>
            <a:ext cx="628650" cy="3667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a:spcBef>
                <a:spcPct val="50000"/>
              </a:spcBef>
            </a:pPr>
            <a:r>
              <a:rPr lang="en-US" altLang="zh-CN" b="1"/>
              <a:t>0.40</a:t>
            </a:r>
          </a:p>
        </p:txBody>
      </p:sp>
      <p:sp>
        <p:nvSpPr>
          <p:cNvPr id="311312" name="Text Box 16"/>
          <p:cNvSpPr txBox="1">
            <a:spLocks noChangeArrowheads="1"/>
          </p:cNvSpPr>
          <p:nvPr/>
        </p:nvSpPr>
        <p:spPr bwMode="auto">
          <a:xfrm>
            <a:off x="4171950" y="5500688"/>
            <a:ext cx="628650" cy="3667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a:spcBef>
                <a:spcPct val="50000"/>
              </a:spcBef>
            </a:pPr>
            <a:r>
              <a:rPr lang="en-US" altLang="zh-CN" b="1"/>
              <a:t>0.60</a:t>
            </a:r>
          </a:p>
        </p:txBody>
      </p:sp>
      <p:sp>
        <p:nvSpPr>
          <p:cNvPr id="311313" name="Text Box 17"/>
          <p:cNvSpPr txBox="1">
            <a:spLocks noChangeArrowheads="1"/>
          </p:cNvSpPr>
          <p:nvPr/>
        </p:nvSpPr>
        <p:spPr bwMode="auto">
          <a:xfrm>
            <a:off x="5238750" y="5500688"/>
            <a:ext cx="628650" cy="3667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a:spcBef>
                <a:spcPct val="50000"/>
              </a:spcBef>
            </a:pPr>
            <a:r>
              <a:rPr lang="en-US" altLang="zh-CN" b="1"/>
              <a:t>0.80</a:t>
            </a:r>
          </a:p>
        </p:txBody>
      </p:sp>
      <p:sp>
        <p:nvSpPr>
          <p:cNvPr id="311314" name="Text Box 18"/>
          <p:cNvSpPr txBox="1">
            <a:spLocks noChangeArrowheads="1"/>
          </p:cNvSpPr>
          <p:nvPr/>
        </p:nvSpPr>
        <p:spPr bwMode="auto">
          <a:xfrm>
            <a:off x="6280150" y="5500688"/>
            <a:ext cx="628650" cy="3667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a:spcBef>
                <a:spcPct val="50000"/>
              </a:spcBef>
            </a:pPr>
            <a:r>
              <a:rPr lang="en-US" altLang="zh-CN" b="1"/>
              <a:t>1.00</a:t>
            </a:r>
          </a:p>
        </p:txBody>
      </p:sp>
      <p:sp>
        <p:nvSpPr>
          <p:cNvPr id="311315" name="Text Box 19"/>
          <p:cNvSpPr txBox="1">
            <a:spLocks noChangeArrowheads="1"/>
          </p:cNvSpPr>
          <p:nvPr/>
        </p:nvSpPr>
        <p:spPr bwMode="auto">
          <a:xfrm>
            <a:off x="7270750" y="5500688"/>
            <a:ext cx="628650" cy="3667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a:spcBef>
                <a:spcPct val="50000"/>
              </a:spcBef>
            </a:pPr>
            <a:r>
              <a:rPr lang="en-US" altLang="zh-CN" b="1"/>
              <a:t>1.20</a:t>
            </a:r>
          </a:p>
        </p:txBody>
      </p:sp>
      <p:sp>
        <p:nvSpPr>
          <p:cNvPr id="311316" name="Rectangle 20"/>
          <p:cNvSpPr>
            <a:spLocks noGrp="1" noChangeArrowheads="1"/>
          </p:cNvSpPr>
          <p:nvPr>
            <p:ph type="title"/>
          </p:nvPr>
        </p:nvSpPr>
        <p:spPr>
          <a:xfrm>
            <a:off x="457200" y="620688"/>
            <a:ext cx="8229600" cy="731837"/>
          </a:xfrm>
          <a:noFill/>
          <a:ln/>
        </p:spPr>
        <p:txBody>
          <a:bodyPr/>
          <a:lstStyle/>
          <a:p>
            <a:r>
              <a:rPr lang="en-US" altLang="zh-CN" sz="4000" b="1" dirty="0">
                <a:solidFill>
                  <a:srgbClr val="0066FF"/>
                </a:solidFill>
              </a:rPr>
              <a:t>Application Zones</a:t>
            </a:r>
          </a:p>
        </p:txBody>
      </p:sp>
      <p:sp>
        <p:nvSpPr>
          <p:cNvPr id="311317" name="Text Box 21"/>
          <p:cNvSpPr txBox="1">
            <a:spLocks noChangeArrowheads="1"/>
          </p:cNvSpPr>
          <p:nvPr/>
        </p:nvSpPr>
        <p:spPr bwMode="auto">
          <a:xfrm>
            <a:off x="3962400" y="2147888"/>
            <a:ext cx="2133600" cy="8239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rgbClr val="FF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spcBef>
                <a:spcPct val="50000"/>
              </a:spcBef>
            </a:pPr>
            <a:r>
              <a:rPr lang="en-US" altLang="zh-CN" sz="1200" b="1"/>
              <a:t>Example 2:</a:t>
            </a:r>
          </a:p>
          <a:p>
            <a:pPr>
              <a:spcBef>
                <a:spcPct val="50000"/>
              </a:spcBef>
            </a:pPr>
            <a:r>
              <a:rPr lang="en-US" altLang="zh-CN" sz="1200" b="1"/>
              <a:t>Energy cost $0.10 kwh</a:t>
            </a:r>
          </a:p>
          <a:p>
            <a:pPr>
              <a:spcBef>
                <a:spcPct val="50000"/>
              </a:spcBef>
            </a:pPr>
            <a:r>
              <a:rPr lang="en-US" altLang="zh-CN" sz="1200" b="1"/>
              <a:t>Diesel cost: $0.80 / L</a:t>
            </a:r>
          </a:p>
        </p:txBody>
      </p:sp>
      <p:sp>
        <p:nvSpPr>
          <p:cNvPr id="311318" name="Text Box 22"/>
          <p:cNvSpPr txBox="1">
            <a:spLocks noChangeArrowheads="1"/>
          </p:cNvSpPr>
          <p:nvPr/>
        </p:nvSpPr>
        <p:spPr bwMode="auto">
          <a:xfrm>
            <a:off x="304800" y="5943600"/>
            <a:ext cx="1120775"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rgbClr val="FF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algn="ctr">
              <a:lnSpc>
                <a:spcPct val="50000"/>
              </a:lnSpc>
              <a:spcBef>
                <a:spcPct val="50000"/>
              </a:spcBef>
            </a:pPr>
            <a:r>
              <a:rPr lang="en-US" altLang="zh-CN" sz="1200"/>
              <a:t>Slope Length:</a:t>
            </a:r>
          </a:p>
        </p:txBody>
      </p:sp>
      <p:sp>
        <p:nvSpPr>
          <p:cNvPr id="311319" name="Rectangle 23"/>
          <p:cNvSpPr>
            <a:spLocks noChangeArrowheads="1"/>
          </p:cNvSpPr>
          <p:nvPr/>
        </p:nvSpPr>
        <p:spPr bwMode="auto">
          <a:xfrm>
            <a:off x="381000" y="6172200"/>
            <a:ext cx="152400" cy="76200"/>
          </a:xfrm>
          <a:prstGeom prst="rect">
            <a:avLst/>
          </a:prstGeom>
          <a:solidFill>
            <a:srgbClr val="008000"/>
          </a:solidFill>
          <a:ln w="9525" algn="ctr">
            <a:solidFill>
              <a:srgbClr val="00800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spAutoFit/>
          </a:bodyPr>
          <a:lstStyle/>
          <a:p>
            <a:endParaRPr lang="en-IN"/>
          </a:p>
        </p:txBody>
      </p:sp>
      <p:sp>
        <p:nvSpPr>
          <p:cNvPr id="311320" name="Rectangle 24"/>
          <p:cNvSpPr>
            <a:spLocks noChangeArrowheads="1"/>
          </p:cNvSpPr>
          <p:nvPr/>
        </p:nvSpPr>
        <p:spPr bwMode="auto">
          <a:xfrm>
            <a:off x="381000" y="6400800"/>
            <a:ext cx="152400" cy="76200"/>
          </a:xfrm>
          <a:prstGeom prst="rect">
            <a:avLst/>
          </a:prstGeom>
          <a:solidFill>
            <a:srgbClr val="008000"/>
          </a:solidFill>
          <a:ln w="9525" algn="ctr">
            <a:solidFill>
              <a:srgbClr val="3399FF"/>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spAutoFit/>
          </a:bodyPr>
          <a:lstStyle/>
          <a:p>
            <a:endParaRPr lang="en-IN"/>
          </a:p>
        </p:txBody>
      </p:sp>
      <p:sp>
        <p:nvSpPr>
          <p:cNvPr id="311321" name="Line 25"/>
          <p:cNvSpPr>
            <a:spLocks noChangeShapeType="1"/>
          </p:cNvSpPr>
          <p:nvPr/>
        </p:nvSpPr>
        <p:spPr bwMode="auto">
          <a:xfrm flipV="1">
            <a:off x="5562600" y="3810000"/>
            <a:ext cx="0" cy="1676400"/>
          </a:xfrm>
          <a:prstGeom prst="line">
            <a:avLst/>
          </a:prstGeom>
          <a:noFill/>
          <a:ln w="28575">
            <a:solidFill>
              <a:srgbClr val="FF0000"/>
            </a:solidFill>
            <a:prstDash val="lg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spAutoFit/>
          </a:bodyPr>
          <a:lstStyle/>
          <a:p>
            <a:endParaRPr lang="en-IN"/>
          </a:p>
        </p:txBody>
      </p:sp>
      <p:sp>
        <p:nvSpPr>
          <p:cNvPr id="311322" name="Line 26"/>
          <p:cNvSpPr>
            <a:spLocks noChangeShapeType="1"/>
          </p:cNvSpPr>
          <p:nvPr/>
        </p:nvSpPr>
        <p:spPr bwMode="auto">
          <a:xfrm flipH="1">
            <a:off x="1524000" y="3810000"/>
            <a:ext cx="4038600" cy="0"/>
          </a:xfrm>
          <a:prstGeom prst="line">
            <a:avLst/>
          </a:prstGeom>
          <a:noFill/>
          <a:ln w="28575">
            <a:solidFill>
              <a:srgbClr val="FF0000"/>
            </a:solidFill>
            <a:prstDash val="lg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spAutoFit/>
          </a:bodyPr>
          <a:lstStyle/>
          <a:p>
            <a:endParaRPr lang="en-IN"/>
          </a:p>
        </p:txBody>
      </p:sp>
      <p:sp>
        <p:nvSpPr>
          <p:cNvPr id="311323" name="AutoShape 27"/>
          <p:cNvSpPr>
            <a:spLocks noChangeArrowheads="1"/>
          </p:cNvSpPr>
          <p:nvPr/>
        </p:nvSpPr>
        <p:spPr bwMode="auto">
          <a:xfrm>
            <a:off x="5334000" y="3581400"/>
            <a:ext cx="457200" cy="381000"/>
          </a:xfrm>
          <a:prstGeom prst="star5">
            <a:avLst/>
          </a:prstGeom>
          <a:solidFill>
            <a:srgbClr val="FF0000"/>
          </a:solidFill>
          <a:ln w="6350" algn="ctr">
            <a:solidFill>
              <a:srgbClr val="FF000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spAutoFit/>
          </a:bodyPr>
          <a:lstStyle/>
          <a:p>
            <a:endParaRPr lang="en-IN"/>
          </a:p>
        </p:txBody>
      </p:sp>
      <p:sp>
        <p:nvSpPr>
          <p:cNvPr id="311324" name="Text Box 28"/>
          <p:cNvSpPr txBox="1">
            <a:spLocks noChangeArrowheads="1"/>
          </p:cNvSpPr>
          <p:nvPr/>
        </p:nvSpPr>
        <p:spPr bwMode="auto">
          <a:xfrm>
            <a:off x="3962400" y="2147888"/>
            <a:ext cx="2133600" cy="8239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rgbClr val="FF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spcBef>
                <a:spcPct val="50000"/>
              </a:spcBef>
            </a:pPr>
            <a:r>
              <a:rPr lang="en-US" altLang="zh-CN" sz="1200" b="1"/>
              <a:t>Example 1:</a:t>
            </a:r>
          </a:p>
          <a:p>
            <a:pPr>
              <a:spcBef>
                <a:spcPct val="50000"/>
              </a:spcBef>
            </a:pPr>
            <a:r>
              <a:rPr lang="en-US" altLang="zh-CN" sz="1200" b="1"/>
              <a:t>Energy cost $0.15 kwh</a:t>
            </a:r>
          </a:p>
          <a:p>
            <a:pPr>
              <a:spcBef>
                <a:spcPct val="50000"/>
              </a:spcBef>
            </a:pPr>
            <a:r>
              <a:rPr lang="en-US" altLang="zh-CN" sz="1200" b="1"/>
              <a:t>Diesel cost: $0.50 / L</a:t>
            </a:r>
          </a:p>
        </p:txBody>
      </p:sp>
      <p:sp>
        <p:nvSpPr>
          <p:cNvPr id="311325" name="Line 29"/>
          <p:cNvSpPr>
            <a:spLocks noChangeShapeType="1"/>
          </p:cNvSpPr>
          <p:nvPr/>
        </p:nvSpPr>
        <p:spPr bwMode="auto">
          <a:xfrm flipH="1">
            <a:off x="1524000" y="2971800"/>
            <a:ext cx="2362200" cy="0"/>
          </a:xfrm>
          <a:prstGeom prst="line">
            <a:avLst/>
          </a:prstGeom>
          <a:noFill/>
          <a:ln w="28575">
            <a:solidFill>
              <a:srgbClr val="FF0000"/>
            </a:solidFill>
            <a:prstDash val="lg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spAutoFit/>
          </a:bodyPr>
          <a:lstStyle/>
          <a:p>
            <a:endParaRPr lang="en-IN"/>
          </a:p>
        </p:txBody>
      </p:sp>
      <p:sp>
        <p:nvSpPr>
          <p:cNvPr id="311326" name="AutoShape 30"/>
          <p:cNvSpPr>
            <a:spLocks noChangeArrowheads="1"/>
          </p:cNvSpPr>
          <p:nvPr/>
        </p:nvSpPr>
        <p:spPr bwMode="auto">
          <a:xfrm>
            <a:off x="3657600" y="2743200"/>
            <a:ext cx="457200" cy="381000"/>
          </a:xfrm>
          <a:prstGeom prst="star5">
            <a:avLst/>
          </a:prstGeom>
          <a:solidFill>
            <a:srgbClr val="FF0000"/>
          </a:solidFill>
          <a:ln w="9525" algn="ctr">
            <a:solidFill>
              <a:srgbClr val="FF000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spAutoFit/>
          </a:bodyPr>
          <a:lstStyle/>
          <a:p>
            <a:endParaRPr lang="en-IN"/>
          </a:p>
        </p:txBody>
      </p:sp>
      <p:sp>
        <p:nvSpPr>
          <p:cNvPr id="311327" name="Line 31"/>
          <p:cNvSpPr>
            <a:spLocks noChangeShapeType="1"/>
          </p:cNvSpPr>
          <p:nvPr/>
        </p:nvSpPr>
        <p:spPr bwMode="auto">
          <a:xfrm>
            <a:off x="3886200" y="2971800"/>
            <a:ext cx="0" cy="2514600"/>
          </a:xfrm>
          <a:prstGeom prst="line">
            <a:avLst/>
          </a:prstGeom>
          <a:noFill/>
          <a:ln w="28575">
            <a:solidFill>
              <a:srgbClr val="FF0000"/>
            </a:solidFill>
            <a:prstDash val="lg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spAutoFit/>
          </a:bodyPr>
          <a:lstStyle/>
          <a:p>
            <a:endParaRPr lang="en-IN"/>
          </a:p>
        </p:txBody>
      </p:sp>
      <p:sp>
        <p:nvSpPr>
          <p:cNvPr id="311328" name="Text Box 32"/>
          <p:cNvSpPr txBox="1">
            <a:spLocks noChangeArrowheads="1"/>
          </p:cNvSpPr>
          <p:nvPr/>
        </p:nvSpPr>
        <p:spPr bwMode="auto">
          <a:xfrm>
            <a:off x="3276600" y="4495800"/>
            <a:ext cx="1606550" cy="5603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rgbClr val="FF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algn="ctr">
              <a:lnSpc>
                <a:spcPct val="60000"/>
              </a:lnSpc>
              <a:spcBef>
                <a:spcPct val="50000"/>
              </a:spcBef>
            </a:pPr>
            <a:r>
              <a:rPr lang="en-US" altLang="zh-CN" b="1"/>
              <a:t>Lowest Cost </a:t>
            </a:r>
          </a:p>
          <a:p>
            <a:pPr algn="ctr">
              <a:lnSpc>
                <a:spcPct val="60000"/>
              </a:lnSpc>
              <a:spcBef>
                <a:spcPct val="50000"/>
              </a:spcBef>
            </a:pPr>
            <a:r>
              <a:rPr lang="en-US" altLang="zh-CN" b="1"/>
              <a:t>Option</a:t>
            </a:r>
          </a:p>
        </p:txBody>
      </p:sp>
      <p:sp>
        <p:nvSpPr>
          <p:cNvPr id="311329" name="Text Box 33"/>
          <p:cNvSpPr txBox="1">
            <a:spLocks noChangeArrowheads="1"/>
          </p:cNvSpPr>
          <p:nvPr/>
        </p:nvSpPr>
        <p:spPr bwMode="auto">
          <a:xfrm>
            <a:off x="528638" y="6049963"/>
            <a:ext cx="690562" cy="2746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rgbClr val="FF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algn="ctr">
              <a:spcBef>
                <a:spcPct val="50000"/>
              </a:spcBef>
            </a:pPr>
            <a:r>
              <a:rPr lang="en-US" altLang="zh-CN" sz="1200"/>
              <a:t>1000 m</a:t>
            </a:r>
          </a:p>
        </p:txBody>
      </p:sp>
      <p:sp>
        <p:nvSpPr>
          <p:cNvPr id="311330" name="Text Box 34"/>
          <p:cNvSpPr txBox="1">
            <a:spLocks noChangeArrowheads="1"/>
          </p:cNvSpPr>
          <p:nvPr/>
        </p:nvSpPr>
        <p:spPr bwMode="auto">
          <a:xfrm>
            <a:off x="533400" y="6278563"/>
            <a:ext cx="690563" cy="2746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rgbClr val="FF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algn="ctr">
              <a:spcBef>
                <a:spcPct val="50000"/>
              </a:spcBef>
            </a:pPr>
            <a:r>
              <a:rPr lang="en-US" altLang="zh-CN" sz="1200"/>
              <a:t>2000 m</a:t>
            </a:r>
          </a:p>
        </p:txBody>
      </p:sp>
      <p:sp>
        <p:nvSpPr>
          <p:cNvPr id="311331" name="WordArt 35"/>
          <p:cNvSpPr>
            <a:spLocks noChangeArrowheads="1" noChangeShapeType="1" noTextEdit="1"/>
          </p:cNvSpPr>
          <p:nvPr/>
        </p:nvSpPr>
        <p:spPr bwMode="auto">
          <a:xfrm>
            <a:off x="2628900" y="2514600"/>
            <a:ext cx="3238500" cy="685800"/>
          </a:xfrm>
          <a:prstGeom prst="rect">
            <a:avLst/>
          </a:prstGeom>
        </p:spPr>
        <p:txBody>
          <a:bodyPr wrap="none" fromWordArt="1">
            <a:prstTxWarp prst="textPlain">
              <a:avLst>
                <a:gd name="adj" fmla="val 50000"/>
              </a:avLst>
            </a:prstTxWarp>
          </a:bodyPr>
          <a:lstStyle/>
          <a:p>
            <a:pPr algn="ctr"/>
            <a:r>
              <a:rPr lang="en-IN" sz="3600" b="1" i="1" kern="10">
                <a:ln w="19050">
                  <a:solidFill>
                    <a:srgbClr val="000000"/>
                  </a:solidFill>
                  <a:round/>
                  <a:headEnd/>
                  <a:tailEnd/>
                </a:ln>
                <a:gradFill rotWithShape="1">
                  <a:gsLst>
                    <a:gs pos="0">
                      <a:srgbClr val="969696"/>
                    </a:gs>
                    <a:gs pos="50000">
                      <a:srgbClr val="969696">
                        <a:gamma/>
                        <a:shade val="15294"/>
                        <a:invGamma/>
                      </a:srgbClr>
                    </a:gs>
                    <a:gs pos="100000">
                      <a:srgbClr val="969696"/>
                    </a:gs>
                  </a:gsLst>
                  <a:lin ang="5400000" scaled="1"/>
                </a:gradFill>
                <a:effectLst>
                  <a:outerShdw dist="35921" dir="2700000" algn="ctr" rotWithShape="0">
                    <a:srgbClr val="808080">
                      <a:alpha val="80000"/>
                    </a:srgbClr>
                  </a:outerShdw>
                </a:effectLst>
                <a:latin typeface="Arial Black"/>
              </a:rPr>
              <a:t>Diesel Application</a:t>
            </a:r>
          </a:p>
          <a:p>
            <a:pPr algn="ctr"/>
            <a:r>
              <a:rPr lang="en-IN" sz="3600" b="1" i="1" kern="10">
                <a:ln w="19050">
                  <a:solidFill>
                    <a:srgbClr val="000000"/>
                  </a:solidFill>
                  <a:round/>
                  <a:headEnd/>
                  <a:tailEnd/>
                </a:ln>
                <a:gradFill rotWithShape="1">
                  <a:gsLst>
                    <a:gs pos="0">
                      <a:srgbClr val="969696"/>
                    </a:gs>
                    <a:gs pos="50000">
                      <a:srgbClr val="969696">
                        <a:gamma/>
                        <a:shade val="15294"/>
                        <a:invGamma/>
                      </a:srgbClr>
                    </a:gs>
                    <a:gs pos="100000">
                      <a:srgbClr val="969696"/>
                    </a:gs>
                  </a:gsLst>
                  <a:lin ang="5400000" scaled="1"/>
                </a:gradFill>
                <a:effectLst>
                  <a:outerShdw dist="35921" dir="2700000" algn="ctr" rotWithShape="0">
                    <a:srgbClr val="808080">
                      <a:alpha val="80000"/>
                    </a:srgbClr>
                  </a:outerShdw>
                </a:effectLst>
                <a:latin typeface="Arial Black"/>
              </a:rPr>
              <a:t>Zone</a:t>
            </a:r>
          </a:p>
        </p:txBody>
      </p:sp>
      <p:sp>
        <p:nvSpPr>
          <p:cNvPr id="311332" name="WordArt 36"/>
          <p:cNvSpPr>
            <a:spLocks noChangeArrowheads="1" noChangeShapeType="1" noTextEdit="1"/>
          </p:cNvSpPr>
          <p:nvPr/>
        </p:nvSpPr>
        <p:spPr bwMode="auto">
          <a:xfrm>
            <a:off x="3200400" y="4343400"/>
            <a:ext cx="3238500" cy="685800"/>
          </a:xfrm>
          <a:prstGeom prst="rect">
            <a:avLst/>
          </a:prstGeom>
        </p:spPr>
        <p:txBody>
          <a:bodyPr wrap="none" fromWordArt="1">
            <a:prstTxWarp prst="textPlain">
              <a:avLst>
                <a:gd name="adj" fmla="val 50000"/>
              </a:avLst>
            </a:prstTxWarp>
          </a:bodyPr>
          <a:lstStyle/>
          <a:p>
            <a:pPr algn="ctr"/>
            <a:r>
              <a:rPr lang="en-IN" sz="3600" b="1" i="1" kern="10">
                <a:ln w="19050">
                  <a:solidFill>
                    <a:srgbClr val="000000"/>
                  </a:solidFill>
                  <a:round/>
                  <a:headEnd/>
                  <a:tailEnd/>
                </a:ln>
                <a:gradFill rotWithShape="1">
                  <a:gsLst>
                    <a:gs pos="0">
                      <a:srgbClr val="008000"/>
                    </a:gs>
                    <a:gs pos="50000">
                      <a:srgbClr val="008000">
                        <a:gamma/>
                        <a:shade val="0"/>
                        <a:invGamma/>
                      </a:srgbClr>
                    </a:gs>
                    <a:gs pos="100000">
                      <a:srgbClr val="008000"/>
                    </a:gs>
                  </a:gsLst>
                  <a:lin ang="5400000" scaled="1"/>
                </a:gradFill>
                <a:effectLst>
                  <a:outerShdw dist="35921" dir="2700000" algn="ctr" rotWithShape="0">
                    <a:srgbClr val="808080">
                      <a:alpha val="80000"/>
                    </a:srgbClr>
                  </a:outerShdw>
                </a:effectLst>
                <a:latin typeface="Arial Black"/>
              </a:rPr>
              <a:t>Trolley Application</a:t>
            </a:r>
          </a:p>
          <a:p>
            <a:pPr algn="ctr"/>
            <a:r>
              <a:rPr lang="en-IN" sz="3600" b="1" i="1" kern="10">
                <a:ln w="19050">
                  <a:solidFill>
                    <a:srgbClr val="000000"/>
                  </a:solidFill>
                  <a:round/>
                  <a:headEnd/>
                  <a:tailEnd/>
                </a:ln>
                <a:gradFill rotWithShape="1">
                  <a:gsLst>
                    <a:gs pos="0">
                      <a:srgbClr val="008000"/>
                    </a:gs>
                    <a:gs pos="50000">
                      <a:srgbClr val="008000">
                        <a:gamma/>
                        <a:shade val="0"/>
                        <a:invGamma/>
                      </a:srgbClr>
                    </a:gs>
                    <a:gs pos="100000">
                      <a:srgbClr val="008000"/>
                    </a:gs>
                  </a:gsLst>
                  <a:lin ang="5400000" scaled="1"/>
                </a:gradFill>
                <a:effectLst>
                  <a:outerShdw dist="35921" dir="2700000" algn="ctr" rotWithShape="0">
                    <a:srgbClr val="808080">
                      <a:alpha val="80000"/>
                    </a:srgbClr>
                  </a:outerShdw>
                </a:effectLst>
                <a:latin typeface="Arial Black"/>
              </a:rPr>
              <a:t>Zone</a:t>
            </a:r>
          </a:p>
        </p:txBody>
      </p:sp>
      <p:sp>
        <p:nvSpPr>
          <p:cNvPr id="311333" name="Rectangle 37"/>
          <p:cNvSpPr>
            <a:spLocks noChangeArrowheads="1"/>
          </p:cNvSpPr>
          <p:nvPr/>
        </p:nvSpPr>
        <p:spPr bwMode="auto">
          <a:xfrm>
            <a:off x="5086350" y="3581400"/>
            <a:ext cx="933450" cy="366713"/>
          </a:xfrm>
          <a:prstGeom prst="rect">
            <a:avLst/>
          </a:prstGeom>
          <a:noFill/>
          <a:ln>
            <a:noFill/>
          </a:ln>
          <a:effectLst/>
          <a:extLst>
            <a:ext uri="{909E8E84-426E-40DD-AFC4-6F175D3DCCD1}">
              <a14:hiddenFill xmlns:a14="http://schemas.microsoft.com/office/drawing/2010/main">
                <a:solidFill>
                  <a:srgbClr val="FF0000"/>
                </a:solidFill>
              </a14:hiddenFill>
            </a:ext>
            <a:ext uri="{91240B29-F687-4F45-9708-019B960494DF}">
              <a14:hiddenLine xmlns:a14="http://schemas.microsoft.com/office/drawing/2010/main" w="9525" algn="ctr">
                <a:solidFill>
                  <a:srgbClr val="FF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algn="ctr">
              <a:spcBef>
                <a:spcPct val="50000"/>
              </a:spcBef>
            </a:pPr>
            <a:r>
              <a:rPr lang="en-US" altLang="zh-CN" b="1"/>
              <a:t>Trolley</a:t>
            </a:r>
          </a:p>
        </p:txBody>
      </p:sp>
      <p:sp>
        <p:nvSpPr>
          <p:cNvPr id="311334" name="Rectangle 38"/>
          <p:cNvSpPr>
            <a:spLocks noChangeArrowheads="1"/>
          </p:cNvSpPr>
          <p:nvPr/>
        </p:nvSpPr>
        <p:spPr bwMode="auto">
          <a:xfrm>
            <a:off x="3467100" y="2743200"/>
            <a:ext cx="857250" cy="366713"/>
          </a:xfrm>
          <a:prstGeom prst="rect">
            <a:avLst/>
          </a:prstGeom>
          <a:noFill/>
          <a:ln>
            <a:noFill/>
          </a:ln>
          <a:effectLst/>
          <a:extLst>
            <a:ext uri="{909E8E84-426E-40DD-AFC4-6F175D3DCCD1}">
              <a14:hiddenFill xmlns:a14="http://schemas.microsoft.com/office/drawing/2010/main">
                <a:solidFill>
                  <a:srgbClr val="FF0000"/>
                </a:solidFill>
              </a14:hiddenFill>
            </a:ext>
            <a:ext uri="{91240B29-F687-4F45-9708-019B960494DF}">
              <a14:hiddenLine xmlns:a14="http://schemas.microsoft.com/office/drawing/2010/main" w="9525" algn="ctr">
                <a:solidFill>
                  <a:srgbClr val="FF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algn="ctr">
              <a:spcBef>
                <a:spcPct val="50000"/>
              </a:spcBef>
            </a:pPr>
            <a:r>
              <a:rPr lang="en-US" altLang="zh-CN" b="1"/>
              <a:t>Diesel</a:t>
            </a:r>
          </a:p>
        </p:txBody>
      </p:sp>
      <p:sp>
        <p:nvSpPr>
          <p:cNvPr id="311335" name="Text Box 39"/>
          <p:cNvSpPr txBox="1">
            <a:spLocks noChangeArrowheads="1"/>
          </p:cNvSpPr>
          <p:nvPr/>
        </p:nvSpPr>
        <p:spPr bwMode="auto">
          <a:xfrm>
            <a:off x="1676400" y="3706813"/>
            <a:ext cx="1606550" cy="5603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rgbClr val="FF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algn="ctr">
              <a:lnSpc>
                <a:spcPct val="60000"/>
              </a:lnSpc>
              <a:spcBef>
                <a:spcPct val="50000"/>
              </a:spcBef>
            </a:pPr>
            <a:r>
              <a:rPr lang="en-US" altLang="zh-CN" b="1"/>
              <a:t>Lowest Cost </a:t>
            </a:r>
          </a:p>
          <a:p>
            <a:pPr algn="ctr">
              <a:lnSpc>
                <a:spcPct val="60000"/>
              </a:lnSpc>
              <a:spcBef>
                <a:spcPct val="50000"/>
              </a:spcBef>
            </a:pPr>
            <a:r>
              <a:rPr lang="en-US" altLang="zh-CN" b="1"/>
              <a:t>Option</a:t>
            </a:r>
          </a:p>
        </p:txBody>
      </p:sp>
      <p:sp>
        <p:nvSpPr>
          <p:cNvPr id="311336" name="Rectangle 40"/>
          <p:cNvSpPr>
            <a:spLocks noChangeArrowheads="1"/>
          </p:cNvSpPr>
          <p:nvPr/>
        </p:nvSpPr>
        <p:spPr bwMode="auto">
          <a:xfrm>
            <a:off x="251520" y="-99392"/>
            <a:ext cx="5029200" cy="731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eaLnBrk="0" hangingPunct="0"/>
            <a:r>
              <a:rPr lang="en-US" altLang="zh-CN" sz="4000" b="1" dirty="0">
                <a:solidFill>
                  <a:schemeClr val="bg1"/>
                </a:solidFill>
                <a:effectLst>
                  <a:outerShdw blurRad="38100" dist="38100" dir="2700000" algn="tl">
                    <a:srgbClr val="C0C0C0"/>
                  </a:outerShdw>
                </a:effectLst>
              </a:rPr>
              <a:t>Diesel vs. Trolley</a:t>
            </a:r>
          </a:p>
        </p:txBody>
      </p:sp>
    </p:spTree>
    <p:extLst>
      <p:ext uri="{BB962C8B-B14F-4D97-AF65-F5344CB8AC3E}">
        <p14:creationId xmlns:p14="http://schemas.microsoft.com/office/powerpoint/2010/main" val="1534378144"/>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22" presetClass="entr" presetSubtype="1" fill="hold" grpId="0" nodeType="withEffect">
                                  <p:stCondLst>
                                    <p:cond delay="0"/>
                                  </p:stCondLst>
                                  <p:childTnLst>
                                    <p:set>
                                      <p:cBhvr>
                                        <p:cTn id="6" dur="1" fill="hold">
                                          <p:stCondLst>
                                            <p:cond delay="0"/>
                                          </p:stCondLst>
                                        </p:cTn>
                                        <p:tgtEl>
                                          <p:spTgt spid="311332"/>
                                        </p:tgtEl>
                                        <p:attrNameLst>
                                          <p:attrName>style.visibility</p:attrName>
                                        </p:attrNameLst>
                                      </p:cBhvr>
                                      <p:to>
                                        <p:strVal val="visible"/>
                                      </p:to>
                                    </p:set>
                                    <p:animEffect transition="in" filter="wipe(up)">
                                      <p:cBhvr>
                                        <p:cTn id="7" dur="500"/>
                                        <p:tgtEl>
                                          <p:spTgt spid="311332"/>
                                        </p:tgtEl>
                                      </p:cBhvr>
                                    </p:animEffect>
                                  </p:childTnLst>
                                </p:cTn>
                              </p:par>
                            </p:childTnLst>
                          </p:cTn>
                        </p:par>
                      </p:childTnLst>
                    </p:cTn>
                  </p:par>
                  <p:par>
                    <p:cTn id="8" fill="hold" nodeType="clickPar">
                      <p:stCondLst>
                        <p:cond delay="indefinite"/>
                      </p:stCondLst>
                      <p:childTnLst>
                        <p:par>
                          <p:cTn id="9" fill="hold" nodeType="withGroup">
                            <p:stCondLst>
                              <p:cond delay="0"/>
                            </p:stCondLst>
                            <p:childTnLst>
                              <p:par>
                                <p:cTn id="10" presetID="22" presetClass="entr" presetSubtype="4" fill="hold" grpId="0" nodeType="clickEffect">
                                  <p:stCondLst>
                                    <p:cond delay="0"/>
                                  </p:stCondLst>
                                  <p:childTnLst>
                                    <p:set>
                                      <p:cBhvr>
                                        <p:cTn id="11" dur="1" fill="hold">
                                          <p:stCondLst>
                                            <p:cond delay="0"/>
                                          </p:stCondLst>
                                        </p:cTn>
                                        <p:tgtEl>
                                          <p:spTgt spid="311298"/>
                                        </p:tgtEl>
                                        <p:attrNameLst>
                                          <p:attrName>style.visibility</p:attrName>
                                        </p:attrNameLst>
                                      </p:cBhvr>
                                      <p:to>
                                        <p:strVal val="visible"/>
                                      </p:to>
                                    </p:set>
                                    <p:animEffect transition="in" filter="wipe(down)">
                                      <p:cBhvr>
                                        <p:cTn id="12" dur="500"/>
                                        <p:tgtEl>
                                          <p:spTgt spid="311298"/>
                                        </p:tgtEl>
                                      </p:cBhvr>
                                    </p:animEffect>
                                  </p:childTnLst>
                                </p:cTn>
                              </p:par>
                            </p:childTnLst>
                          </p:cTn>
                        </p:par>
                        <p:par>
                          <p:cTn id="13" fill="hold" nodeType="afterGroup">
                            <p:stCondLst>
                              <p:cond delay="500"/>
                            </p:stCondLst>
                            <p:childTnLst>
                              <p:par>
                                <p:cTn id="14" presetID="22" presetClass="entr" presetSubtype="1" fill="hold" grpId="0" nodeType="afterEffect">
                                  <p:stCondLst>
                                    <p:cond delay="0"/>
                                  </p:stCondLst>
                                  <p:childTnLst>
                                    <p:set>
                                      <p:cBhvr>
                                        <p:cTn id="15" dur="1" fill="hold">
                                          <p:stCondLst>
                                            <p:cond delay="0"/>
                                          </p:stCondLst>
                                        </p:cTn>
                                        <p:tgtEl>
                                          <p:spTgt spid="311331"/>
                                        </p:tgtEl>
                                        <p:attrNameLst>
                                          <p:attrName>style.visibility</p:attrName>
                                        </p:attrNameLst>
                                      </p:cBhvr>
                                      <p:to>
                                        <p:strVal val="visible"/>
                                      </p:to>
                                    </p:set>
                                    <p:animEffect transition="in" filter="wipe(up)">
                                      <p:cBhvr>
                                        <p:cTn id="16" dur="500"/>
                                        <p:tgtEl>
                                          <p:spTgt spid="311331"/>
                                        </p:tgtEl>
                                      </p:cBhvr>
                                    </p:animEffect>
                                  </p:childTnLst>
                                </p:cTn>
                              </p:par>
                            </p:childTnLst>
                          </p:cTn>
                        </p:par>
                      </p:childTnLst>
                    </p:cTn>
                  </p:par>
                  <p:par>
                    <p:cTn id="17" fill="hold" nodeType="clickPar">
                      <p:stCondLst>
                        <p:cond delay="indefinite"/>
                      </p:stCondLst>
                      <p:childTnLst>
                        <p:par>
                          <p:cTn id="18" fill="hold" nodeType="withGroup">
                            <p:stCondLst>
                              <p:cond delay="0"/>
                            </p:stCondLst>
                            <p:childTnLst>
                              <p:par>
                                <p:cTn id="19" presetID="22" presetClass="exit" presetSubtype="1" fill="hold" grpId="1" nodeType="clickEffect">
                                  <p:stCondLst>
                                    <p:cond delay="0"/>
                                  </p:stCondLst>
                                  <p:childTnLst>
                                    <p:animEffect transition="out" filter="wipe(up)">
                                      <p:cBhvr>
                                        <p:cTn id="20" dur="500"/>
                                        <p:tgtEl>
                                          <p:spTgt spid="311331"/>
                                        </p:tgtEl>
                                      </p:cBhvr>
                                    </p:animEffect>
                                    <p:set>
                                      <p:cBhvr>
                                        <p:cTn id="21" dur="1" fill="hold">
                                          <p:stCondLst>
                                            <p:cond delay="499"/>
                                          </p:stCondLst>
                                        </p:cTn>
                                        <p:tgtEl>
                                          <p:spTgt spid="311331"/>
                                        </p:tgtEl>
                                        <p:attrNameLst>
                                          <p:attrName>style.visibility</p:attrName>
                                        </p:attrNameLst>
                                      </p:cBhvr>
                                      <p:to>
                                        <p:strVal val="hidden"/>
                                      </p:to>
                                    </p:set>
                                  </p:childTnLst>
                                </p:cTn>
                              </p:par>
                              <p:par>
                                <p:cTn id="22" presetID="22" presetClass="exit" presetSubtype="1" fill="hold" grpId="1" nodeType="withEffect">
                                  <p:stCondLst>
                                    <p:cond delay="0"/>
                                  </p:stCondLst>
                                  <p:childTnLst>
                                    <p:animEffect transition="out" filter="wipe(up)">
                                      <p:cBhvr>
                                        <p:cTn id="23" dur="500"/>
                                        <p:tgtEl>
                                          <p:spTgt spid="311332"/>
                                        </p:tgtEl>
                                      </p:cBhvr>
                                    </p:animEffect>
                                    <p:set>
                                      <p:cBhvr>
                                        <p:cTn id="24" dur="1" fill="hold">
                                          <p:stCondLst>
                                            <p:cond delay="499"/>
                                          </p:stCondLst>
                                        </p:cTn>
                                        <p:tgtEl>
                                          <p:spTgt spid="311332"/>
                                        </p:tgtEl>
                                        <p:attrNameLst>
                                          <p:attrName>style.visibility</p:attrName>
                                        </p:attrNameLst>
                                      </p:cBhvr>
                                      <p:to>
                                        <p:strVal val="hidden"/>
                                      </p:to>
                                    </p:set>
                                  </p:childTnLst>
                                </p:cTn>
                              </p:par>
                            </p:childTnLst>
                          </p:cTn>
                        </p:par>
                        <p:par>
                          <p:cTn id="25" fill="hold" nodeType="afterGroup">
                            <p:stCondLst>
                              <p:cond delay="500"/>
                            </p:stCondLst>
                            <p:childTnLst>
                              <p:par>
                                <p:cTn id="26" presetID="22" presetClass="entr" presetSubtype="8" fill="hold" grpId="0" nodeType="afterEffect">
                                  <p:stCondLst>
                                    <p:cond delay="0"/>
                                  </p:stCondLst>
                                  <p:childTnLst>
                                    <p:set>
                                      <p:cBhvr>
                                        <p:cTn id="27" dur="1" fill="hold">
                                          <p:stCondLst>
                                            <p:cond delay="0"/>
                                          </p:stCondLst>
                                        </p:cTn>
                                        <p:tgtEl>
                                          <p:spTgt spid="311324"/>
                                        </p:tgtEl>
                                        <p:attrNameLst>
                                          <p:attrName>style.visibility</p:attrName>
                                        </p:attrNameLst>
                                      </p:cBhvr>
                                      <p:to>
                                        <p:strVal val="visible"/>
                                      </p:to>
                                    </p:set>
                                    <p:animEffect transition="in" filter="wipe(left)">
                                      <p:cBhvr>
                                        <p:cTn id="28" dur="500"/>
                                        <p:tgtEl>
                                          <p:spTgt spid="311324"/>
                                        </p:tgtEl>
                                      </p:cBhvr>
                                    </p:animEffect>
                                  </p:childTnLst>
                                </p:cTn>
                              </p:par>
                            </p:childTnLst>
                          </p:cTn>
                        </p:par>
                        <p:par>
                          <p:cTn id="29" fill="hold" nodeType="afterGroup">
                            <p:stCondLst>
                              <p:cond delay="1000"/>
                            </p:stCondLst>
                            <p:childTnLst>
                              <p:par>
                                <p:cTn id="30" presetID="22" presetClass="entr" presetSubtype="4" fill="hold" grpId="0" nodeType="afterEffect">
                                  <p:stCondLst>
                                    <p:cond delay="0"/>
                                  </p:stCondLst>
                                  <p:childTnLst>
                                    <p:set>
                                      <p:cBhvr>
                                        <p:cTn id="31" dur="1" fill="hold">
                                          <p:stCondLst>
                                            <p:cond delay="0"/>
                                          </p:stCondLst>
                                        </p:cTn>
                                        <p:tgtEl>
                                          <p:spTgt spid="311327"/>
                                        </p:tgtEl>
                                        <p:attrNameLst>
                                          <p:attrName>style.visibility</p:attrName>
                                        </p:attrNameLst>
                                      </p:cBhvr>
                                      <p:to>
                                        <p:strVal val="visible"/>
                                      </p:to>
                                    </p:set>
                                    <p:animEffect transition="in" filter="wipe(down)">
                                      <p:cBhvr>
                                        <p:cTn id="32" dur="500"/>
                                        <p:tgtEl>
                                          <p:spTgt spid="311327"/>
                                        </p:tgtEl>
                                      </p:cBhvr>
                                    </p:animEffect>
                                  </p:childTnLst>
                                </p:cTn>
                              </p:par>
                              <p:par>
                                <p:cTn id="33" presetID="22" presetClass="entr" presetSubtype="8" fill="hold" grpId="0" nodeType="withEffect">
                                  <p:stCondLst>
                                    <p:cond delay="0"/>
                                  </p:stCondLst>
                                  <p:childTnLst>
                                    <p:set>
                                      <p:cBhvr>
                                        <p:cTn id="34" dur="1" fill="hold">
                                          <p:stCondLst>
                                            <p:cond delay="0"/>
                                          </p:stCondLst>
                                        </p:cTn>
                                        <p:tgtEl>
                                          <p:spTgt spid="311325"/>
                                        </p:tgtEl>
                                        <p:attrNameLst>
                                          <p:attrName>style.visibility</p:attrName>
                                        </p:attrNameLst>
                                      </p:cBhvr>
                                      <p:to>
                                        <p:strVal val="visible"/>
                                      </p:to>
                                    </p:set>
                                    <p:animEffect transition="in" filter="wipe(left)">
                                      <p:cBhvr>
                                        <p:cTn id="35" dur="500"/>
                                        <p:tgtEl>
                                          <p:spTgt spid="311325"/>
                                        </p:tgtEl>
                                      </p:cBhvr>
                                    </p:animEffect>
                                  </p:childTnLst>
                                </p:cTn>
                              </p:par>
                            </p:childTnLst>
                          </p:cTn>
                        </p:par>
                        <p:par>
                          <p:cTn id="36" fill="hold" nodeType="afterGroup">
                            <p:stCondLst>
                              <p:cond delay="1500"/>
                            </p:stCondLst>
                            <p:childTnLst>
                              <p:par>
                                <p:cTn id="37" presetID="1" presetClass="entr" presetSubtype="0" fill="hold" grpId="0" nodeType="afterEffect">
                                  <p:stCondLst>
                                    <p:cond delay="5000"/>
                                  </p:stCondLst>
                                  <p:childTnLst>
                                    <p:set>
                                      <p:cBhvr>
                                        <p:cTn id="38" dur="1" fill="hold">
                                          <p:stCondLst>
                                            <p:cond delay="0"/>
                                          </p:stCondLst>
                                        </p:cTn>
                                        <p:tgtEl>
                                          <p:spTgt spid="311326"/>
                                        </p:tgtEl>
                                        <p:attrNameLst>
                                          <p:attrName>style.visibility</p:attrName>
                                        </p:attrNameLst>
                                      </p:cBhvr>
                                      <p:to>
                                        <p:strVal val="visible"/>
                                      </p:to>
                                    </p:set>
                                  </p:childTnLst>
                                </p:cTn>
                              </p:par>
                            </p:childTnLst>
                          </p:cTn>
                        </p:par>
                        <p:par>
                          <p:cTn id="39" fill="hold" nodeType="afterGroup">
                            <p:stCondLst>
                              <p:cond delay="6500"/>
                            </p:stCondLst>
                            <p:childTnLst>
                              <p:par>
                                <p:cTn id="40" presetID="6" presetClass="emph" presetSubtype="0" fill="hold" grpId="1" nodeType="afterEffect">
                                  <p:stCondLst>
                                    <p:cond delay="0"/>
                                  </p:stCondLst>
                                  <p:childTnLst>
                                    <p:animScale>
                                      <p:cBhvr>
                                        <p:cTn id="41" dur="500" fill="hold"/>
                                        <p:tgtEl>
                                          <p:spTgt spid="311326"/>
                                        </p:tgtEl>
                                      </p:cBhvr>
                                      <p:by x="300000" y="300000"/>
                                    </p:animScale>
                                  </p:childTnLst>
                                </p:cTn>
                              </p:par>
                              <p:par>
                                <p:cTn id="42" presetID="23" presetClass="entr" presetSubtype="16" fill="hold" grpId="0" nodeType="withEffect">
                                  <p:stCondLst>
                                    <p:cond delay="0"/>
                                  </p:stCondLst>
                                  <p:childTnLst>
                                    <p:set>
                                      <p:cBhvr>
                                        <p:cTn id="43" dur="1" fill="hold">
                                          <p:stCondLst>
                                            <p:cond delay="0"/>
                                          </p:stCondLst>
                                        </p:cTn>
                                        <p:tgtEl>
                                          <p:spTgt spid="311334"/>
                                        </p:tgtEl>
                                        <p:attrNameLst>
                                          <p:attrName>style.visibility</p:attrName>
                                        </p:attrNameLst>
                                      </p:cBhvr>
                                      <p:to>
                                        <p:strVal val="visible"/>
                                      </p:to>
                                    </p:set>
                                    <p:anim calcmode="lin" valueType="num">
                                      <p:cBhvr>
                                        <p:cTn id="44" dur="500" fill="hold"/>
                                        <p:tgtEl>
                                          <p:spTgt spid="311334"/>
                                        </p:tgtEl>
                                        <p:attrNameLst>
                                          <p:attrName>ppt_w</p:attrName>
                                        </p:attrNameLst>
                                      </p:cBhvr>
                                      <p:tavLst>
                                        <p:tav tm="0">
                                          <p:val>
                                            <p:fltVal val="0"/>
                                          </p:val>
                                        </p:tav>
                                        <p:tav tm="100000">
                                          <p:val>
                                            <p:strVal val="#ppt_w"/>
                                          </p:val>
                                        </p:tav>
                                      </p:tavLst>
                                    </p:anim>
                                    <p:anim calcmode="lin" valueType="num">
                                      <p:cBhvr>
                                        <p:cTn id="45" dur="500" fill="hold"/>
                                        <p:tgtEl>
                                          <p:spTgt spid="311334"/>
                                        </p:tgtEl>
                                        <p:attrNameLst>
                                          <p:attrName>ppt_h</p:attrName>
                                        </p:attrNameLst>
                                      </p:cBhvr>
                                      <p:tavLst>
                                        <p:tav tm="0">
                                          <p:val>
                                            <p:fltVal val="0"/>
                                          </p:val>
                                        </p:tav>
                                        <p:tav tm="100000">
                                          <p:val>
                                            <p:strVal val="#ppt_h"/>
                                          </p:val>
                                        </p:tav>
                                      </p:tavLst>
                                    </p:anim>
                                  </p:childTnLst>
                                </p:cTn>
                              </p:par>
                            </p:childTnLst>
                          </p:cTn>
                        </p:par>
                        <p:par>
                          <p:cTn id="46" fill="hold" nodeType="afterGroup">
                            <p:stCondLst>
                              <p:cond delay="7000"/>
                            </p:stCondLst>
                            <p:childTnLst>
                              <p:par>
                                <p:cTn id="47" presetID="22" presetClass="entr" presetSubtype="1" fill="hold" grpId="0" nodeType="afterEffect">
                                  <p:stCondLst>
                                    <p:cond delay="0"/>
                                  </p:stCondLst>
                                  <p:childTnLst>
                                    <p:set>
                                      <p:cBhvr>
                                        <p:cTn id="48" dur="1" fill="hold">
                                          <p:stCondLst>
                                            <p:cond delay="0"/>
                                          </p:stCondLst>
                                        </p:cTn>
                                        <p:tgtEl>
                                          <p:spTgt spid="311335"/>
                                        </p:tgtEl>
                                        <p:attrNameLst>
                                          <p:attrName>style.visibility</p:attrName>
                                        </p:attrNameLst>
                                      </p:cBhvr>
                                      <p:to>
                                        <p:strVal val="visible"/>
                                      </p:to>
                                    </p:set>
                                    <p:animEffect transition="in" filter="wipe(up)">
                                      <p:cBhvr>
                                        <p:cTn id="49" dur="500"/>
                                        <p:tgtEl>
                                          <p:spTgt spid="311335"/>
                                        </p:tgtEl>
                                      </p:cBhvr>
                                    </p:animEffect>
                                  </p:childTnLst>
                                </p:cTn>
                              </p:par>
                            </p:childTnLst>
                          </p:cTn>
                        </p:par>
                      </p:childTnLst>
                    </p:cTn>
                  </p:par>
                  <p:par>
                    <p:cTn id="50" fill="hold" nodeType="clickPar">
                      <p:stCondLst>
                        <p:cond delay="indefinite"/>
                      </p:stCondLst>
                      <p:childTnLst>
                        <p:par>
                          <p:cTn id="51" fill="hold" nodeType="withGroup">
                            <p:stCondLst>
                              <p:cond delay="0"/>
                            </p:stCondLst>
                            <p:childTnLst>
                              <p:par>
                                <p:cTn id="52" presetID="12" presetClass="exit" presetSubtype="2" fill="hold" grpId="1" nodeType="clickEffect">
                                  <p:stCondLst>
                                    <p:cond delay="0"/>
                                  </p:stCondLst>
                                  <p:childTnLst>
                                    <p:animEffect transition="out" filter="slide(fromRight)">
                                      <p:cBhvr>
                                        <p:cTn id="53" dur="500"/>
                                        <p:tgtEl>
                                          <p:spTgt spid="311324"/>
                                        </p:tgtEl>
                                      </p:cBhvr>
                                    </p:animEffect>
                                    <p:set>
                                      <p:cBhvr>
                                        <p:cTn id="54" dur="1" fill="hold">
                                          <p:stCondLst>
                                            <p:cond delay="499"/>
                                          </p:stCondLst>
                                        </p:cTn>
                                        <p:tgtEl>
                                          <p:spTgt spid="311324"/>
                                        </p:tgtEl>
                                        <p:attrNameLst>
                                          <p:attrName>style.visibility</p:attrName>
                                        </p:attrNameLst>
                                      </p:cBhvr>
                                      <p:to>
                                        <p:strVal val="hidden"/>
                                      </p:to>
                                    </p:set>
                                  </p:childTnLst>
                                </p:cTn>
                              </p:par>
                              <p:par>
                                <p:cTn id="55" presetID="23" presetClass="exit" presetSubtype="32" fill="hold" grpId="2" nodeType="withEffect">
                                  <p:stCondLst>
                                    <p:cond delay="0"/>
                                  </p:stCondLst>
                                  <p:childTnLst>
                                    <p:anim calcmode="lin" valueType="num">
                                      <p:cBhvr>
                                        <p:cTn id="56" dur="500"/>
                                        <p:tgtEl>
                                          <p:spTgt spid="311326"/>
                                        </p:tgtEl>
                                        <p:attrNameLst>
                                          <p:attrName>ppt_w</p:attrName>
                                        </p:attrNameLst>
                                      </p:cBhvr>
                                      <p:tavLst>
                                        <p:tav tm="0">
                                          <p:val>
                                            <p:strVal val="ppt_w"/>
                                          </p:val>
                                        </p:tav>
                                        <p:tav tm="100000">
                                          <p:val>
                                            <p:fltVal val="0"/>
                                          </p:val>
                                        </p:tav>
                                      </p:tavLst>
                                    </p:anim>
                                    <p:anim calcmode="lin" valueType="num">
                                      <p:cBhvr>
                                        <p:cTn id="57" dur="500"/>
                                        <p:tgtEl>
                                          <p:spTgt spid="311326"/>
                                        </p:tgtEl>
                                        <p:attrNameLst>
                                          <p:attrName>ppt_h</p:attrName>
                                        </p:attrNameLst>
                                      </p:cBhvr>
                                      <p:tavLst>
                                        <p:tav tm="0">
                                          <p:val>
                                            <p:strVal val="ppt_h"/>
                                          </p:val>
                                        </p:tav>
                                        <p:tav tm="100000">
                                          <p:val>
                                            <p:fltVal val="0"/>
                                          </p:val>
                                        </p:tav>
                                      </p:tavLst>
                                    </p:anim>
                                    <p:set>
                                      <p:cBhvr>
                                        <p:cTn id="58" dur="1" fill="hold">
                                          <p:stCondLst>
                                            <p:cond delay="499"/>
                                          </p:stCondLst>
                                        </p:cTn>
                                        <p:tgtEl>
                                          <p:spTgt spid="311326"/>
                                        </p:tgtEl>
                                        <p:attrNameLst>
                                          <p:attrName>style.visibility</p:attrName>
                                        </p:attrNameLst>
                                      </p:cBhvr>
                                      <p:to>
                                        <p:strVal val="hidden"/>
                                      </p:to>
                                    </p:set>
                                  </p:childTnLst>
                                </p:cTn>
                              </p:par>
                              <p:par>
                                <p:cTn id="59" presetID="23" presetClass="exit" presetSubtype="32" fill="hold" grpId="1" nodeType="withEffect">
                                  <p:stCondLst>
                                    <p:cond delay="0"/>
                                  </p:stCondLst>
                                  <p:childTnLst>
                                    <p:anim calcmode="lin" valueType="num">
                                      <p:cBhvr>
                                        <p:cTn id="60" dur="500"/>
                                        <p:tgtEl>
                                          <p:spTgt spid="311334"/>
                                        </p:tgtEl>
                                        <p:attrNameLst>
                                          <p:attrName>ppt_w</p:attrName>
                                        </p:attrNameLst>
                                      </p:cBhvr>
                                      <p:tavLst>
                                        <p:tav tm="0">
                                          <p:val>
                                            <p:strVal val="ppt_w"/>
                                          </p:val>
                                        </p:tav>
                                        <p:tav tm="100000">
                                          <p:val>
                                            <p:fltVal val="0"/>
                                          </p:val>
                                        </p:tav>
                                      </p:tavLst>
                                    </p:anim>
                                    <p:anim calcmode="lin" valueType="num">
                                      <p:cBhvr>
                                        <p:cTn id="61" dur="500"/>
                                        <p:tgtEl>
                                          <p:spTgt spid="311334"/>
                                        </p:tgtEl>
                                        <p:attrNameLst>
                                          <p:attrName>ppt_h</p:attrName>
                                        </p:attrNameLst>
                                      </p:cBhvr>
                                      <p:tavLst>
                                        <p:tav tm="0">
                                          <p:val>
                                            <p:strVal val="ppt_h"/>
                                          </p:val>
                                        </p:tav>
                                        <p:tav tm="100000">
                                          <p:val>
                                            <p:fltVal val="0"/>
                                          </p:val>
                                        </p:tav>
                                      </p:tavLst>
                                    </p:anim>
                                    <p:set>
                                      <p:cBhvr>
                                        <p:cTn id="62" dur="1" fill="hold">
                                          <p:stCondLst>
                                            <p:cond delay="499"/>
                                          </p:stCondLst>
                                        </p:cTn>
                                        <p:tgtEl>
                                          <p:spTgt spid="311334"/>
                                        </p:tgtEl>
                                        <p:attrNameLst>
                                          <p:attrName>style.visibility</p:attrName>
                                        </p:attrNameLst>
                                      </p:cBhvr>
                                      <p:to>
                                        <p:strVal val="hidden"/>
                                      </p:to>
                                    </p:set>
                                  </p:childTnLst>
                                </p:cTn>
                              </p:par>
                              <p:par>
                                <p:cTn id="63" presetID="22" presetClass="exit" presetSubtype="1" fill="hold" grpId="1" nodeType="withEffect">
                                  <p:stCondLst>
                                    <p:cond delay="0"/>
                                  </p:stCondLst>
                                  <p:childTnLst>
                                    <p:animEffect transition="out" filter="wipe(up)">
                                      <p:cBhvr>
                                        <p:cTn id="64" dur="500"/>
                                        <p:tgtEl>
                                          <p:spTgt spid="311335"/>
                                        </p:tgtEl>
                                      </p:cBhvr>
                                    </p:animEffect>
                                    <p:set>
                                      <p:cBhvr>
                                        <p:cTn id="65" dur="1" fill="hold">
                                          <p:stCondLst>
                                            <p:cond delay="499"/>
                                          </p:stCondLst>
                                        </p:cTn>
                                        <p:tgtEl>
                                          <p:spTgt spid="311335"/>
                                        </p:tgtEl>
                                        <p:attrNameLst>
                                          <p:attrName>style.visibility</p:attrName>
                                        </p:attrNameLst>
                                      </p:cBhvr>
                                      <p:to>
                                        <p:strVal val="hidden"/>
                                      </p:to>
                                    </p:set>
                                  </p:childTnLst>
                                </p:cTn>
                              </p:par>
                            </p:childTnLst>
                          </p:cTn>
                        </p:par>
                        <p:par>
                          <p:cTn id="66" fill="hold" nodeType="afterGroup">
                            <p:stCondLst>
                              <p:cond delay="500"/>
                            </p:stCondLst>
                            <p:childTnLst>
                              <p:par>
                                <p:cTn id="67" presetID="12" presetClass="exit" presetSubtype="8" fill="hold" grpId="1" nodeType="afterEffect">
                                  <p:stCondLst>
                                    <p:cond delay="0"/>
                                  </p:stCondLst>
                                  <p:childTnLst>
                                    <p:animEffect transition="out" filter="slide(fromLeft)">
                                      <p:cBhvr>
                                        <p:cTn id="68" dur="500"/>
                                        <p:tgtEl>
                                          <p:spTgt spid="311325"/>
                                        </p:tgtEl>
                                      </p:cBhvr>
                                    </p:animEffect>
                                    <p:set>
                                      <p:cBhvr>
                                        <p:cTn id="69" dur="1" fill="hold">
                                          <p:stCondLst>
                                            <p:cond delay="499"/>
                                          </p:stCondLst>
                                        </p:cTn>
                                        <p:tgtEl>
                                          <p:spTgt spid="311325"/>
                                        </p:tgtEl>
                                        <p:attrNameLst>
                                          <p:attrName>style.visibility</p:attrName>
                                        </p:attrNameLst>
                                      </p:cBhvr>
                                      <p:to>
                                        <p:strVal val="hidden"/>
                                      </p:to>
                                    </p:set>
                                  </p:childTnLst>
                                </p:cTn>
                              </p:par>
                              <p:par>
                                <p:cTn id="70" presetID="12" presetClass="exit" presetSubtype="4" fill="hold" grpId="1" nodeType="withEffect">
                                  <p:stCondLst>
                                    <p:cond delay="0"/>
                                  </p:stCondLst>
                                  <p:childTnLst>
                                    <p:animEffect transition="out" filter="slide(fromBottom)">
                                      <p:cBhvr>
                                        <p:cTn id="71" dur="500"/>
                                        <p:tgtEl>
                                          <p:spTgt spid="311327"/>
                                        </p:tgtEl>
                                      </p:cBhvr>
                                    </p:animEffect>
                                    <p:set>
                                      <p:cBhvr>
                                        <p:cTn id="72" dur="1" fill="hold">
                                          <p:stCondLst>
                                            <p:cond delay="499"/>
                                          </p:stCondLst>
                                        </p:cTn>
                                        <p:tgtEl>
                                          <p:spTgt spid="311327"/>
                                        </p:tgtEl>
                                        <p:attrNameLst>
                                          <p:attrName>style.visibility</p:attrName>
                                        </p:attrNameLst>
                                      </p:cBhvr>
                                      <p:to>
                                        <p:strVal val="hidden"/>
                                      </p:to>
                                    </p:set>
                                  </p:childTnLst>
                                </p:cTn>
                              </p:par>
                            </p:childTnLst>
                          </p:cTn>
                        </p:par>
                        <p:par>
                          <p:cTn id="73" fill="hold" nodeType="afterGroup">
                            <p:stCondLst>
                              <p:cond delay="1000"/>
                            </p:stCondLst>
                            <p:childTnLst>
                              <p:par>
                                <p:cTn id="74" presetID="22" presetClass="entr" presetSubtype="8" fill="hold" grpId="0" nodeType="afterEffect">
                                  <p:stCondLst>
                                    <p:cond delay="0"/>
                                  </p:stCondLst>
                                  <p:childTnLst>
                                    <p:set>
                                      <p:cBhvr>
                                        <p:cTn id="75" dur="1" fill="hold">
                                          <p:stCondLst>
                                            <p:cond delay="0"/>
                                          </p:stCondLst>
                                        </p:cTn>
                                        <p:tgtEl>
                                          <p:spTgt spid="311317"/>
                                        </p:tgtEl>
                                        <p:attrNameLst>
                                          <p:attrName>style.visibility</p:attrName>
                                        </p:attrNameLst>
                                      </p:cBhvr>
                                      <p:to>
                                        <p:strVal val="visible"/>
                                      </p:to>
                                    </p:set>
                                    <p:animEffect transition="in" filter="wipe(left)">
                                      <p:cBhvr>
                                        <p:cTn id="76" dur="500"/>
                                        <p:tgtEl>
                                          <p:spTgt spid="311317"/>
                                        </p:tgtEl>
                                      </p:cBhvr>
                                    </p:animEffect>
                                  </p:childTnLst>
                                </p:cTn>
                              </p:par>
                            </p:childTnLst>
                          </p:cTn>
                        </p:par>
                        <p:par>
                          <p:cTn id="77" fill="hold" nodeType="afterGroup">
                            <p:stCondLst>
                              <p:cond delay="1500"/>
                            </p:stCondLst>
                            <p:childTnLst>
                              <p:par>
                                <p:cTn id="78" presetID="22" presetClass="entr" presetSubtype="8" fill="hold" grpId="0" nodeType="afterEffect">
                                  <p:stCondLst>
                                    <p:cond delay="0"/>
                                  </p:stCondLst>
                                  <p:childTnLst>
                                    <p:set>
                                      <p:cBhvr>
                                        <p:cTn id="79" dur="1" fill="hold">
                                          <p:stCondLst>
                                            <p:cond delay="0"/>
                                          </p:stCondLst>
                                        </p:cTn>
                                        <p:tgtEl>
                                          <p:spTgt spid="311322"/>
                                        </p:tgtEl>
                                        <p:attrNameLst>
                                          <p:attrName>style.visibility</p:attrName>
                                        </p:attrNameLst>
                                      </p:cBhvr>
                                      <p:to>
                                        <p:strVal val="visible"/>
                                      </p:to>
                                    </p:set>
                                    <p:animEffect transition="in" filter="wipe(left)">
                                      <p:cBhvr>
                                        <p:cTn id="80" dur="500"/>
                                        <p:tgtEl>
                                          <p:spTgt spid="311322"/>
                                        </p:tgtEl>
                                      </p:cBhvr>
                                    </p:animEffect>
                                  </p:childTnLst>
                                </p:cTn>
                              </p:par>
                              <p:par>
                                <p:cTn id="81" presetID="22" presetClass="entr" presetSubtype="4" fill="hold" grpId="0" nodeType="withEffect">
                                  <p:stCondLst>
                                    <p:cond delay="0"/>
                                  </p:stCondLst>
                                  <p:childTnLst>
                                    <p:set>
                                      <p:cBhvr>
                                        <p:cTn id="82" dur="1" fill="hold">
                                          <p:stCondLst>
                                            <p:cond delay="0"/>
                                          </p:stCondLst>
                                        </p:cTn>
                                        <p:tgtEl>
                                          <p:spTgt spid="311321"/>
                                        </p:tgtEl>
                                        <p:attrNameLst>
                                          <p:attrName>style.visibility</p:attrName>
                                        </p:attrNameLst>
                                      </p:cBhvr>
                                      <p:to>
                                        <p:strVal val="visible"/>
                                      </p:to>
                                    </p:set>
                                    <p:animEffect transition="in" filter="wipe(down)">
                                      <p:cBhvr>
                                        <p:cTn id="83" dur="500"/>
                                        <p:tgtEl>
                                          <p:spTgt spid="311321"/>
                                        </p:tgtEl>
                                      </p:cBhvr>
                                    </p:animEffect>
                                  </p:childTnLst>
                                </p:cTn>
                              </p:par>
                            </p:childTnLst>
                          </p:cTn>
                        </p:par>
                        <p:par>
                          <p:cTn id="84" fill="hold" nodeType="afterGroup">
                            <p:stCondLst>
                              <p:cond delay="2000"/>
                            </p:stCondLst>
                            <p:childTnLst>
                              <p:par>
                                <p:cTn id="85" presetID="1" presetClass="entr" presetSubtype="0" fill="hold" grpId="0" nodeType="afterEffect">
                                  <p:stCondLst>
                                    <p:cond delay="5000"/>
                                  </p:stCondLst>
                                  <p:childTnLst>
                                    <p:set>
                                      <p:cBhvr>
                                        <p:cTn id="86" dur="1" fill="hold">
                                          <p:stCondLst>
                                            <p:cond delay="0"/>
                                          </p:stCondLst>
                                        </p:cTn>
                                        <p:tgtEl>
                                          <p:spTgt spid="311323"/>
                                        </p:tgtEl>
                                        <p:attrNameLst>
                                          <p:attrName>style.visibility</p:attrName>
                                        </p:attrNameLst>
                                      </p:cBhvr>
                                      <p:to>
                                        <p:strVal val="visible"/>
                                      </p:to>
                                    </p:set>
                                  </p:childTnLst>
                                </p:cTn>
                              </p:par>
                            </p:childTnLst>
                          </p:cTn>
                        </p:par>
                        <p:par>
                          <p:cTn id="87" fill="hold" nodeType="afterGroup">
                            <p:stCondLst>
                              <p:cond delay="7000"/>
                            </p:stCondLst>
                            <p:childTnLst>
                              <p:par>
                                <p:cTn id="88" presetID="6" presetClass="emph" presetSubtype="0" fill="hold" grpId="1" nodeType="afterEffect">
                                  <p:stCondLst>
                                    <p:cond delay="0"/>
                                  </p:stCondLst>
                                  <p:childTnLst>
                                    <p:animScale>
                                      <p:cBhvr>
                                        <p:cTn id="89" dur="500" fill="hold"/>
                                        <p:tgtEl>
                                          <p:spTgt spid="311323"/>
                                        </p:tgtEl>
                                      </p:cBhvr>
                                      <p:by x="400000" y="400000"/>
                                    </p:animScale>
                                  </p:childTnLst>
                                </p:cTn>
                              </p:par>
                              <p:par>
                                <p:cTn id="90" presetID="23" presetClass="entr" presetSubtype="36" fill="hold" grpId="0" nodeType="withEffect">
                                  <p:stCondLst>
                                    <p:cond delay="0"/>
                                  </p:stCondLst>
                                  <p:childTnLst>
                                    <p:set>
                                      <p:cBhvr>
                                        <p:cTn id="91" dur="1" fill="hold">
                                          <p:stCondLst>
                                            <p:cond delay="0"/>
                                          </p:stCondLst>
                                        </p:cTn>
                                        <p:tgtEl>
                                          <p:spTgt spid="311333"/>
                                        </p:tgtEl>
                                        <p:attrNameLst>
                                          <p:attrName>style.visibility</p:attrName>
                                        </p:attrNameLst>
                                      </p:cBhvr>
                                      <p:to>
                                        <p:strVal val="visible"/>
                                      </p:to>
                                    </p:set>
                                    <p:anim calcmode="lin" valueType="num">
                                      <p:cBhvr>
                                        <p:cTn id="92" dur="500" fill="hold"/>
                                        <p:tgtEl>
                                          <p:spTgt spid="311333"/>
                                        </p:tgtEl>
                                        <p:attrNameLst>
                                          <p:attrName>ppt_w</p:attrName>
                                        </p:attrNameLst>
                                      </p:cBhvr>
                                      <p:tavLst>
                                        <p:tav tm="0">
                                          <p:val>
                                            <p:strVal val="(6*min(max(#ppt_w*#ppt_h,.3),1)-7.4)/-.7*#ppt_w"/>
                                          </p:val>
                                        </p:tav>
                                        <p:tav tm="100000">
                                          <p:val>
                                            <p:strVal val="#ppt_w"/>
                                          </p:val>
                                        </p:tav>
                                      </p:tavLst>
                                    </p:anim>
                                    <p:anim calcmode="lin" valueType="num">
                                      <p:cBhvr>
                                        <p:cTn id="93" dur="500" fill="hold"/>
                                        <p:tgtEl>
                                          <p:spTgt spid="311333"/>
                                        </p:tgtEl>
                                        <p:attrNameLst>
                                          <p:attrName>ppt_h</p:attrName>
                                        </p:attrNameLst>
                                      </p:cBhvr>
                                      <p:tavLst>
                                        <p:tav tm="0">
                                          <p:val>
                                            <p:strVal val="(6*min(max(#ppt_w*#ppt_h,.3),1)-7.4)/-.7*#ppt_h"/>
                                          </p:val>
                                        </p:tav>
                                        <p:tav tm="100000">
                                          <p:val>
                                            <p:strVal val="#ppt_h"/>
                                          </p:val>
                                        </p:tav>
                                      </p:tavLst>
                                    </p:anim>
                                    <p:anim calcmode="lin" valueType="num">
                                      <p:cBhvr>
                                        <p:cTn id="94" dur="500" fill="hold"/>
                                        <p:tgtEl>
                                          <p:spTgt spid="311333"/>
                                        </p:tgtEl>
                                        <p:attrNameLst>
                                          <p:attrName>ppt_x</p:attrName>
                                        </p:attrNameLst>
                                      </p:cBhvr>
                                      <p:tavLst>
                                        <p:tav tm="0">
                                          <p:val>
                                            <p:fltVal val="0.5"/>
                                          </p:val>
                                        </p:tav>
                                        <p:tav tm="100000">
                                          <p:val>
                                            <p:strVal val="#ppt_x"/>
                                          </p:val>
                                        </p:tav>
                                      </p:tavLst>
                                    </p:anim>
                                    <p:anim calcmode="lin" valueType="num">
                                      <p:cBhvr>
                                        <p:cTn id="95" dur="500" fill="hold"/>
                                        <p:tgtEl>
                                          <p:spTgt spid="311333"/>
                                        </p:tgtEl>
                                        <p:attrNameLst>
                                          <p:attrName>ppt_y</p:attrName>
                                        </p:attrNameLst>
                                      </p:cBhvr>
                                      <p:tavLst>
                                        <p:tav tm="0">
                                          <p:val>
                                            <p:strVal val="1+(6*min(max(#ppt_w*#ppt_h,.3),1)-7.4)/-.7*#ppt_h/2"/>
                                          </p:val>
                                        </p:tav>
                                        <p:tav tm="100000">
                                          <p:val>
                                            <p:strVal val="#ppt_y"/>
                                          </p:val>
                                        </p:tav>
                                      </p:tavLst>
                                    </p:anim>
                                  </p:childTnLst>
                                </p:cTn>
                              </p:par>
                            </p:childTnLst>
                          </p:cTn>
                        </p:par>
                        <p:par>
                          <p:cTn id="96" fill="hold" nodeType="afterGroup">
                            <p:stCondLst>
                              <p:cond delay="7500"/>
                            </p:stCondLst>
                            <p:childTnLst>
                              <p:par>
                                <p:cTn id="97" presetID="22" presetClass="entr" presetSubtype="1" fill="hold" grpId="0" nodeType="afterEffect">
                                  <p:stCondLst>
                                    <p:cond delay="0"/>
                                  </p:stCondLst>
                                  <p:childTnLst>
                                    <p:set>
                                      <p:cBhvr>
                                        <p:cTn id="98" dur="1" fill="hold">
                                          <p:stCondLst>
                                            <p:cond delay="0"/>
                                          </p:stCondLst>
                                        </p:cTn>
                                        <p:tgtEl>
                                          <p:spTgt spid="311328"/>
                                        </p:tgtEl>
                                        <p:attrNameLst>
                                          <p:attrName>style.visibility</p:attrName>
                                        </p:attrNameLst>
                                      </p:cBhvr>
                                      <p:to>
                                        <p:strVal val="visible"/>
                                      </p:to>
                                    </p:set>
                                    <p:animEffect transition="in" filter="wipe(up)">
                                      <p:cBhvr>
                                        <p:cTn id="99" dur="500"/>
                                        <p:tgtEl>
                                          <p:spTgt spid="31132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11298" grpId="0" animBg="1"/>
      <p:bldP spid="311317" grpId="0"/>
      <p:bldP spid="311321" grpId="0" animBg="1"/>
      <p:bldP spid="311322" grpId="0" animBg="1"/>
      <p:bldP spid="311323" grpId="0" animBg="1"/>
      <p:bldP spid="311323" grpId="1" animBg="1"/>
      <p:bldP spid="311324" grpId="0"/>
      <p:bldP spid="311324" grpId="1"/>
      <p:bldP spid="311325" grpId="0" animBg="1"/>
      <p:bldP spid="311325" grpId="1" animBg="1"/>
      <p:bldP spid="311326" grpId="0" animBg="1"/>
      <p:bldP spid="311326" grpId="1" animBg="1"/>
      <p:bldP spid="311326" grpId="2" animBg="1"/>
      <p:bldP spid="311327" grpId="0" animBg="1"/>
      <p:bldP spid="311327" grpId="1" animBg="1"/>
      <p:bldP spid="311328" grpId="0"/>
      <p:bldP spid="311331" grpId="0" animBg="1"/>
      <p:bldP spid="311331" grpId="1" animBg="1"/>
      <p:bldP spid="311332" grpId="0" animBg="1"/>
      <p:bldP spid="311332" grpId="1" animBg="1"/>
      <p:bldP spid="311333" grpId="0"/>
      <p:bldP spid="311334" grpId="0"/>
      <p:bldP spid="311334" grpId="1"/>
      <p:bldP spid="311335" grpId="0"/>
      <p:bldP spid="311335" grpId="1"/>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722313" y="2636912"/>
            <a:ext cx="7772400" cy="738311"/>
          </a:xfrm>
        </p:spPr>
        <p:txBody>
          <a:bodyPr/>
          <a:lstStyle/>
          <a:p>
            <a:pPr algn="ctr"/>
            <a:r>
              <a:rPr lang="en-US" sz="3200" b="1" dirty="0" smtClean="0"/>
              <a:t>Equipment Tracking Systems</a:t>
            </a:r>
            <a:endParaRPr lang="en-IN" sz="3200" b="1" dirty="0"/>
          </a:p>
        </p:txBody>
      </p:sp>
    </p:spTree>
    <p:extLst>
      <p:ext uri="{BB962C8B-B14F-4D97-AF65-F5344CB8AC3E}">
        <p14:creationId xmlns:p14="http://schemas.microsoft.com/office/powerpoint/2010/main" val="2819236583"/>
      </p:ext>
    </p:extLst>
  </p:cSld>
  <p:clrMapOvr>
    <a:masterClrMapping/>
  </p:clrMapOvr>
  <p:transition spd="slow">
    <p:wipe/>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2" name="Rectangle 8"/>
          <p:cNvSpPr>
            <a:spLocks noGrp="1" noChangeArrowheads="1"/>
          </p:cNvSpPr>
          <p:nvPr>
            <p:ph type="title"/>
          </p:nvPr>
        </p:nvSpPr>
        <p:spPr bwMode="auto">
          <a:xfrm>
            <a:off x="251520" y="44624"/>
            <a:ext cx="3096344" cy="425450"/>
          </a:xfrm>
          <a:noFill/>
          <a:ln>
            <a:miter lim="800000"/>
            <a:headEnd/>
            <a:tailEnd/>
          </a:ln>
        </p:spPr>
        <p:txBody>
          <a:bodyPr vert="horz" wrap="square" lIns="91440" tIns="45720" rIns="91440" bIns="45720" numCol="1" anchor="t" anchorCtr="0" compatLnSpc="1">
            <a:prstTxWarp prst="textNoShape">
              <a:avLst/>
            </a:prstTxWarp>
            <a:normAutofit fontScale="90000"/>
          </a:bodyPr>
          <a:lstStyle/>
          <a:p>
            <a:pPr algn="ctr"/>
            <a:r>
              <a:rPr lang="en-US" altLang="ja-JP" sz="3200" b="1" dirty="0" smtClean="0">
                <a:solidFill>
                  <a:schemeClr val="bg1"/>
                </a:solidFill>
                <a:latin typeface="Times New Roman" charset="0"/>
                <a:cs typeface="Times New Roman" charset="0"/>
              </a:rPr>
              <a:t>KOMTRAX:</a:t>
            </a:r>
          </a:p>
        </p:txBody>
      </p:sp>
      <p:sp>
        <p:nvSpPr>
          <p:cNvPr id="46084" name="Rectangle 7"/>
          <p:cNvSpPr>
            <a:spLocks noChangeArrowheads="1"/>
          </p:cNvSpPr>
          <p:nvPr/>
        </p:nvSpPr>
        <p:spPr bwMode="auto">
          <a:xfrm>
            <a:off x="3051102" y="116632"/>
            <a:ext cx="3609130" cy="424732"/>
          </a:xfrm>
          <a:prstGeom prst="rect">
            <a:avLst/>
          </a:prstGeom>
          <a:noFill/>
          <a:ln w="9525">
            <a:noFill/>
            <a:miter lim="800000"/>
            <a:headEnd/>
            <a:tailEnd/>
          </a:ln>
        </p:spPr>
        <p:txBody>
          <a:bodyPr wrap="none">
            <a:spAutoFit/>
          </a:bodyPr>
          <a:lstStyle/>
          <a:p>
            <a:pPr algn="ctr">
              <a:lnSpc>
                <a:spcPct val="90000"/>
              </a:lnSpc>
            </a:pPr>
            <a:r>
              <a:rPr lang="en-US" altLang="ja-JP" sz="2400" b="1" dirty="0" smtClean="0">
                <a:solidFill>
                  <a:schemeClr val="bg1"/>
                </a:solidFill>
                <a:latin typeface="Times New Roman" charset="0"/>
                <a:cs typeface="Times New Roman" charset="0"/>
              </a:rPr>
              <a:t>Machine </a:t>
            </a:r>
            <a:r>
              <a:rPr lang="en-US" altLang="ja-JP" sz="2400" b="1" dirty="0">
                <a:solidFill>
                  <a:schemeClr val="bg1"/>
                </a:solidFill>
                <a:latin typeface="Times New Roman" charset="0"/>
                <a:cs typeface="Times New Roman" charset="0"/>
              </a:rPr>
              <a:t>Tracking System</a:t>
            </a:r>
          </a:p>
        </p:txBody>
      </p:sp>
      <p:sp>
        <p:nvSpPr>
          <p:cNvPr id="46086" name="Text Box 10"/>
          <p:cNvSpPr txBox="1">
            <a:spLocks noChangeArrowheads="1"/>
          </p:cNvSpPr>
          <p:nvPr/>
        </p:nvSpPr>
        <p:spPr bwMode="auto">
          <a:xfrm>
            <a:off x="5459413" y="6270625"/>
            <a:ext cx="3568700" cy="196850"/>
          </a:xfrm>
          <a:prstGeom prst="rect">
            <a:avLst/>
          </a:prstGeom>
          <a:noFill/>
          <a:ln w="12700">
            <a:noFill/>
            <a:miter lim="800000"/>
            <a:headEnd/>
            <a:tailEnd/>
          </a:ln>
        </p:spPr>
        <p:txBody>
          <a:bodyPr wrap="none" lIns="0" tIns="0" rIns="0" bIns="0">
            <a:spAutoFit/>
          </a:bodyPr>
          <a:lstStyle/>
          <a:p>
            <a:pPr algn="r">
              <a:lnSpc>
                <a:spcPct val="80000"/>
              </a:lnSpc>
              <a:spcBef>
                <a:spcPct val="50000"/>
              </a:spcBef>
            </a:pPr>
            <a:r>
              <a:rPr lang="en-US" altLang="ja-JP" sz="1600" dirty="0">
                <a:solidFill>
                  <a:srgbClr val="000000"/>
                </a:solidFill>
                <a:latin typeface="Times New Roman" charset="0"/>
                <a:cs typeface="Times New Roman" charset="0"/>
              </a:rPr>
              <a:t>This service is not available in certain area.</a:t>
            </a:r>
          </a:p>
        </p:txBody>
      </p:sp>
      <p:grpSp>
        <p:nvGrpSpPr>
          <p:cNvPr id="2" name="Group 11"/>
          <p:cNvGrpSpPr>
            <a:grpSpLocks noChangeAspect="1"/>
          </p:cNvGrpSpPr>
          <p:nvPr/>
        </p:nvGrpSpPr>
        <p:grpSpPr bwMode="auto">
          <a:xfrm>
            <a:off x="755576" y="1036290"/>
            <a:ext cx="7776864" cy="4552950"/>
            <a:chOff x="2184" y="960"/>
            <a:chExt cx="3473" cy="2956"/>
          </a:xfrm>
        </p:grpSpPr>
        <p:sp>
          <p:nvSpPr>
            <p:cNvPr id="371724" name="Rectangle 12"/>
            <p:cNvSpPr>
              <a:spLocks noChangeArrowheads="1"/>
            </p:cNvSpPr>
            <p:nvPr/>
          </p:nvSpPr>
          <p:spPr bwMode="gray">
            <a:xfrm>
              <a:off x="3360" y="960"/>
              <a:ext cx="1536" cy="240"/>
            </a:xfrm>
            <a:prstGeom prst="rect">
              <a:avLst/>
            </a:prstGeom>
            <a:solidFill>
              <a:srgbClr val="000066"/>
            </a:solidFill>
            <a:ln w="9525">
              <a:solidFill>
                <a:srgbClr val="000066"/>
              </a:solidFill>
              <a:miter lim="800000"/>
              <a:headEnd/>
              <a:tailEnd/>
            </a:ln>
            <a:effectLst/>
          </p:spPr>
          <p:txBody>
            <a:bodyPr wrap="none" anchor="ctr"/>
            <a:lstStyle/>
            <a:p>
              <a:pPr algn="ctr"/>
              <a:r>
                <a:rPr lang="en-US" altLang="ja-JP" sz="1600" b="1">
                  <a:solidFill>
                    <a:srgbClr val="FFFFFF"/>
                  </a:solidFill>
                  <a:effectLst>
                    <a:outerShdw blurRad="38100" dist="38100" dir="2700000" algn="tl">
                      <a:srgbClr val="000000"/>
                    </a:outerShdw>
                  </a:effectLst>
                  <a:latin typeface="Times New Roman" charset="0"/>
                  <a:cs typeface="Times New Roman" charset="0"/>
                </a:rPr>
                <a:t>How KOMTRAX works</a:t>
              </a:r>
              <a:endParaRPr lang="en-US" altLang="ja-JP" sz="1600" b="1">
                <a:latin typeface="Times New Roman" charset="0"/>
                <a:cs typeface="Times New Roman" charset="0"/>
              </a:endParaRPr>
            </a:p>
          </p:txBody>
        </p:sp>
        <p:sp>
          <p:nvSpPr>
            <p:cNvPr id="46100" name="Text Box 13"/>
            <p:cNvSpPr txBox="1">
              <a:spLocks noChangeArrowheads="1"/>
            </p:cNvSpPr>
            <p:nvPr/>
          </p:nvSpPr>
          <p:spPr bwMode="auto">
            <a:xfrm>
              <a:off x="4182" y="1219"/>
              <a:ext cx="1028" cy="380"/>
            </a:xfrm>
            <a:prstGeom prst="rect">
              <a:avLst/>
            </a:prstGeom>
            <a:noFill/>
            <a:ln w="9525">
              <a:noFill/>
              <a:miter lim="800000"/>
              <a:headEnd/>
              <a:tailEnd/>
            </a:ln>
          </p:spPr>
          <p:txBody>
            <a:bodyPr wrap="square">
              <a:spAutoFit/>
            </a:bodyPr>
            <a:lstStyle/>
            <a:p>
              <a:pPr algn="ctr"/>
              <a:r>
                <a:rPr lang="en-US" altLang="ja-JP" sz="1600" b="1" dirty="0">
                  <a:latin typeface="Times New Roman" charset="0"/>
                  <a:cs typeface="Times New Roman" charset="0"/>
                </a:rPr>
                <a:t>Communication Satellite / Mobile Phone</a:t>
              </a:r>
            </a:p>
          </p:txBody>
        </p:sp>
        <p:grpSp>
          <p:nvGrpSpPr>
            <p:cNvPr id="3" name="Group 14"/>
            <p:cNvGrpSpPr>
              <a:grpSpLocks/>
            </p:cNvGrpSpPr>
            <p:nvPr/>
          </p:nvGrpSpPr>
          <p:grpSpPr bwMode="auto">
            <a:xfrm>
              <a:off x="4110" y="1554"/>
              <a:ext cx="1547" cy="1674"/>
              <a:chOff x="4110" y="1554"/>
              <a:chExt cx="1547" cy="1674"/>
            </a:xfrm>
          </p:grpSpPr>
          <p:sp>
            <p:nvSpPr>
              <p:cNvPr id="46265" name="AutoShape 15"/>
              <p:cNvSpPr>
                <a:spLocks noChangeArrowheads="1"/>
              </p:cNvSpPr>
              <p:nvPr/>
            </p:nvSpPr>
            <p:spPr bwMode="gray">
              <a:xfrm>
                <a:off x="4578" y="1788"/>
                <a:ext cx="967" cy="317"/>
              </a:xfrm>
              <a:prstGeom prst="flowChartMagneticDisk">
                <a:avLst/>
              </a:prstGeom>
              <a:solidFill>
                <a:srgbClr val="CCECFF"/>
              </a:solidFill>
              <a:ln w="9525">
                <a:solidFill>
                  <a:srgbClr val="000066"/>
                </a:solidFill>
                <a:round/>
                <a:headEnd/>
                <a:tailEnd/>
              </a:ln>
            </p:spPr>
            <p:txBody>
              <a:bodyPr wrap="none" tIns="155448" anchor="ctr"/>
              <a:lstStyle/>
              <a:p>
                <a:pPr algn="ctr">
                  <a:lnSpc>
                    <a:spcPts val="700"/>
                  </a:lnSpc>
                  <a:spcBef>
                    <a:spcPct val="20000"/>
                  </a:spcBef>
                </a:pPr>
                <a:r>
                  <a:rPr lang="en-US" altLang="ja-JP" sz="1600" b="1">
                    <a:latin typeface="Times New Roman" charset="0"/>
                    <a:cs typeface="Times New Roman" charset="0"/>
                  </a:rPr>
                  <a:t>Machine</a:t>
                </a:r>
              </a:p>
              <a:p>
                <a:pPr algn="ctr">
                  <a:lnSpc>
                    <a:spcPts val="700"/>
                  </a:lnSpc>
                  <a:spcBef>
                    <a:spcPct val="20000"/>
                  </a:spcBef>
                </a:pPr>
                <a:r>
                  <a:rPr lang="en-US" altLang="ja-JP" sz="1600" b="1">
                    <a:latin typeface="Times New Roman" charset="0"/>
                    <a:cs typeface="Times New Roman" charset="0"/>
                  </a:rPr>
                  <a:t>Data server</a:t>
                </a:r>
              </a:p>
            </p:txBody>
          </p:sp>
          <p:sp>
            <p:nvSpPr>
              <p:cNvPr id="46266" name="AutoShape 16"/>
              <p:cNvSpPr>
                <a:spLocks noChangeArrowheads="1"/>
              </p:cNvSpPr>
              <p:nvPr/>
            </p:nvSpPr>
            <p:spPr bwMode="gray">
              <a:xfrm>
                <a:off x="4488" y="2346"/>
                <a:ext cx="1169" cy="271"/>
              </a:xfrm>
              <a:prstGeom prst="flowChartMagneticDisk">
                <a:avLst/>
              </a:prstGeom>
              <a:solidFill>
                <a:srgbClr val="CCECFF"/>
              </a:solidFill>
              <a:ln w="9525">
                <a:solidFill>
                  <a:srgbClr val="000066"/>
                </a:solidFill>
                <a:round/>
                <a:headEnd/>
                <a:tailEnd/>
              </a:ln>
            </p:spPr>
            <p:txBody>
              <a:bodyPr wrap="none" anchor="ctr"/>
              <a:lstStyle/>
              <a:p>
                <a:pPr algn="ctr"/>
                <a:r>
                  <a:rPr lang="en-US" altLang="ja-JP" sz="1600" b="1">
                    <a:latin typeface="Times New Roman" charset="0"/>
                    <a:cs typeface="Times New Roman" charset="0"/>
                  </a:rPr>
                  <a:t>Web Application Server</a:t>
                </a:r>
              </a:p>
            </p:txBody>
          </p:sp>
          <p:grpSp>
            <p:nvGrpSpPr>
              <p:cNvPr id="4" name="Group 17"/>
              <p:cNvGrpSpPr>
                <a:grpSpLocks/>
              </p:cNvGrpSpPr>
              <p:nvPr/>
            </p:nvGrpSpPr>
            <p:grpSpPr bwMode="auto">
              <a:xfrm>
                <a:off x="4992" y="2100"/>
                <a:ext cx="96" cy="248"/>
                <a:chOff x="4992" y="2100"/>
                <a:chExt cx="96" cy="248"/>
              </a:xfrm>
            </p:grpSpPr>
            <p:sp>
              <p:nvSpPr>
                <p:cNvPr id="46277" name="Line 18"/>
                <p:cNvSpPr>
                  <a:spLocks noChangeShapeType="1"/>
                </p:cNvSpPr>
                <p:nvPr/>
              </p:nvSpPr>
              <p:spPr bwMode="gray">
                <a:xfrm>
                  <a:off x="4992" y="2100"/>
                  <a:ext cx="0" cy="155"/>
                </a:xfrm>
                <a:prstGeom prst="line">
                  <a:avLst/>
                </a:prstGeom>
                <a:noFill/>
                <a:ln w="19050">
                  <a:solidFill>
                    <a:schemeClr val="tx1"/>
                  </a:solidFill>
                  <a:round/>
                  <a:headEnd type="triangle" w="sm" len="sm"/>
                  <a:tailEnd/>
                </a:ln>
              </p:spPr>
              <p:txBody>
                <a:bodyPr/>
                <a:lstStyle/>
                <a:p>
                  <a:endParaRPr lang="en-US" sz="1600" b="1"/>
                </a:p>
              </p:txBody>
            </p:sp>
            <p:sp>
              <p:nvSpPr>
                <p:cNvPr id="46278" name="Line 19"/>
                <p:cNvSpPr>
                  <a:spLocks noChangeShapeType="1"/>
                </p:cNvSpPr>
                <p:nvPr/>
              </p:nvSpPr>
              <p:spPr bwMode="gray">
                <a:xfrm flipV="1">
                  <a:off x="4992" y="2193"/>
                  <a:ext cx="96" cy="62"/>
                </a:xfrm>
                <a:prstGeom prst="line">
                  <a:avLst/>
                </a:prstGeom>
                <a:noFill/>
                <a:ln w="19050">
                  <a:solidFill>
                    <a:schemeClr val="tx1"/>
                  </a:solidFill>
                  <a:round/>
                  <a:headEnd/>
                  <a:tailEnd/>
                </a:ln>
              </p:spPr>
              <p:txBody>
                <a:bodyPr/>
                <a:lstStyle/>
                <a:p>
                  <a:endParaRPr lang="en-US" sz="1600" b="1"/>
                </a:p>
              </p:txBody>
            </p:sp>
            <p:sp>
              <p:nvSpPr>
                <p:cNvPr id="46279" name="Line 20"/>
                <p:cNvSpPr>
                  <a:spLocks noChangeShapeType="1"/>
                </p:cNvSpPr>
                <p:nvPr/>
              </p:nvSpPr>
              <p:spPr bwMode="gray">
                <a:xfrm flipH="1">
                  <a:off x="5088" y="2193"/>
                  <a:ext cx="0" cy="155"/>
                </a:xfrm>
                <a:prstGeom prst="line">
                  <a:avLst/>
                </a:prstGeom>
                <a:noFill/>
                <a:ln w="19050">
                  <a:solidFill>
                    <a:schemeClr val="tx1"/>
                  </a:solidFill>
                  <a:round/>
                  <a:headEnd/>
                  <a:tailEnd type="triangle" w="sm" len="sm"/>
                </a:ln>
              </p:spPr>
              <p:txBody>
                <a:bodyPr/>
                <a:lstStyle/>
                <a:p>
                  <a:endParaRPr lang="en-US" sz="1600" b="1"/>
                </a:p>
              </p:txBody>
            </p:sp>
          </p:grpSp>
          <p:grpSp>
            <p:nvGrpSpPr>
              <p:cNvPr id="5" name="Group 21"/>
              <p:cNvGrpSpPr>
                <a:grpSpLocks/>
              </p:cNvGrpSpPr>
              <p:nvPr/>
            </p:nvGrpSpPr>
            <p:grpSpPr bwMode="auto">
              <a:xfrm>
                <a:off x="4110" y="1554"/>
                <a:ext cx="465" cy="282"/>
                <a:chOff x="4110" y="1554"/>
                <a:chExt cx="465" cy="282"/>
              </a:xfrm>
            </p:grpSpPr>
            <p:sp>
              <p:nvSpPr>
                <p:cNvPr id="46274" name="Line 22"/>
                <p:cNvSpPr>
                  <a:spLocks noChangeShapeType="1"/>
                </p:cNvSpPr>
                <p:nvPr/>
              </p:nvSpPr>
              <p:spPr bwMode="gray">
                <a:xfrm flipH="1" flipV="1">
                  <a:off x="4110" y="1554"/>
                  <a:ext cx="369" cy="144"/>
                </a:xfrm>
                <a:prstGeom prst="line">
                  <a:avLst/>
                </a:prstGeom>
                <a:noFill/>
                <a:ln w="28575">
                  <a:solidFill>
                    <a:srgbClr val="000066"/>
                  </a:solidFill>
                  <a:round/>
                  <a:headEnd/>
                  <a:tailEnd type="triangle" w="sm" len="sm"/>
                </a:ln>
              </p:spPr>
              <p:txBody>
                <a:bodyPr/>
                <a:lstStyle/>
                <a:p>
                  <a:endParaRPr lang="en-US" sz="1600" b="1"/>
                </a:p>
              </p:txBody>
            </p:sp>
            <p:sp>
              <p:nvSpPr>
                <p:cNvPr id="46275" name="Line 23"/>
                <p:cNvSpPr>
                  <a:spLocks noChangeShapeType="1"/>
                </p:cNvSpPr>
                <p:nvPr/>
              </p:nvSpPr>
              <p:spPr bwMode="gray">
                <a:xfrm flipH="1">
                  <a:off x="4258" y="1698"/>
                  <a:ext cx="221" cy="30"/>
                </a:xfrm>
                <a:prstGeom prst="line">
                  <a:avLst/>
                </a:prstGeom>
                <a:noFill/>
                <a:ln w="28575">
                  <a:solidFill>
                    <a:srgbClr val="000066"/>
                  </a:solidFill>
                  <a:round/>
                  <a:headEnd/>
                  <a:tailEnd/>
                </a:ln>
              </p:spPr>
              <p:txBody>
                <a:bodyPr/>
                <a:lstStyle/>
                <a:p>
                  <a:endParaRPr lang="en-US" sz="1600" b="1"/>
                </a:p>
              </p:txBody>
            </p:sp>
            <p:sp>
              <p:nvSpPr>
                <p:cNvPr id="46276" name="Line 24"/>
                <p:cNvSpPr>
                  <a:spLocks noChangeShapeType="1"/>
                </p:cNvSpPr>
                <p:nvPr/>
              </p:nvSpPr>
              <p:spPr bwMode="gray">
                <a:xfrm>
                  <a:off x="4258" y="1734"/>
                  <a:ext cx="317" cy="102"/>
                </a:xfrm>
                <a:prstGeom prst="line">
                  <a:avLst/>
                </a:prstGeom>
                <a:noFill/>
                <a:ln w="28575">
                  <a:solidFill>
                    <a:srgbClr val="000066"/>
                  </a:solidFill>
                  <a:round/>
                  <a:headEnd/>
                  <a:tailEnd type="triangle" w="sm" len="sm"/>
                </a:ln>
              </p:spPr>
              <p:txBody>
                <a:bodyPr/>
                <a:lstStyle/>
                <a:p>
                  <a:endParaRPr lang="en-US" sz="1600" b="1"/>
                </a:p>
              </p:txBody>
            </p:sp>
          </p:grpSp>
          <p:grpSp>
            <p:nvGrpSpPr>
              <p:cNvPr id="6" name="Group 25"/>
              <p:cNvGrpSpPr>
                <a:grpSpLocks/>
              </p:cNvGrpSpPr>
              <p:nvPr/>
            </p:nvGrpSpPr>
            <p:grpSpPr bwMode="auto">
              <a:xfrm>
                <a:off x="4992" y="2652"/>
                <a:ext cx="144" cy="576"/>
                <a:chOff x="4992" y="2652"/>
                <a:chExt cx="144" cy="576"/>
              </a:xfrm>
            </p:grpSpPr>
            <p:sp>
              <p:nvSpPr>
                <p:cNvPr id="46271" name="Line 26"/>
                <p:cNvSpPr>
                  <a:spLocks noChangeShapeType="1"/>
                </p:cNvSpPr>
                <p:nvPr/>
              </p:nvSpPr>
              <p:spPr bwMode="gray">
                <a:xfrm flipH="1">
                  <a:off x="4992" y="2652"/>
                  <a:ext cx="144" cy="453"/>
                </a:xfrm>
                <a:prstGeom prst="line">
                  <a:avLst/>
                </a:prstGeom>
                <a:noFill/>
                <a:ln w="12700">
                  <a:solidFill>
                    <a:srgbClr val="000066"/>
                  </a:solidFill>
                  <a:round/>
                  <a:headEnd/>
                  <a:tailEnd/>
                </a:ln>
              </p:spPr>
              <p:txBody>
                <a:bodyPr/>
                <a:lstStyle/>
                <a:p>
                  <a:endParaRPr lang="en-US" sz="1600" b="1"/>
                </a:p>
              </p:txBody>
            </p:sp>
            <p:sp>
              <p:nvSpPr>
                <p:cNvPr id="46272" name="Line 27"/>
                <p:cNvSpPr>
                  <a:spLocks noChangeShapeType="1"/>
                </p:cNvSpPr>
                <p:nvPr/>
              </p:nvSpPr>
              <p:spPr bwMode="gray">
                <a:xfrm flipV="1">
                  <a:off x="4992" y="2858"/>
                  <a:ext cx="144" cy="247"/>
                </a:xfrm>
                <a:prstGeom prst="line">
                  <a:avLst/>
                </a:prstGeom>
                <a:noFill/>
                <a:ln w="12700">
                  <a:solidFill>
                    <a:srgbClr val="000066"/>
                  </a:solidFill>
                  <a:round/>
                  <a:headEnd/>
                  <a:tailEnd/>
                </a:ln>
              </p:spPr>
              <p:txBody>
                <a:bodyPr/>
                <a:lstStyle/>
                <a:p>
                  <a:endParaRPr lang="en-US" sz="1600" b="1"/>
                </a:p>
              </p:txBody>
            </p:sp>
            <p:sp>
              <p:nvSpPr>
                <p:cNvPr id="46273" name="Line 28"/>
                <p:cNvSpPr>
                  <a:spLocks noChangeShapeType="1"/>
                </p:cNvSpPr>
                <p:nvPr/>
              </p:nvSpPr>
              <p:spPr bwMode="gray">
                <a:xfrm flipH="1">
                  <a:off x="5064" y="2858"/>
                  <a:ext cx="72" cy="370"/>
                </a:xfrm>
                <a:prstGeom prst="line">
                  <a:avLst/>
                </a:prstGeom>
                <a:noFill/>
                <a:ln w="12700">
                  <a:solidFill>
                    <a:srgbClr val="000066"/>
                  </a:solidFill>
                  <a:round/>
                  <a:headEnd/>
                  <a:tailEnd/>
                </a:ln>
              </p:spPr>
              <p:txBody>
                <a:bodyPr/>
                <a:lstStyle/>
                <a:p>
                  <a:endParaRPr lang="en-US" sz="1600" b="1"/>
                </a:p>
              </p:txBody>
            </p:sp>
          </p:grpSp>
          <p:sp>
            <p:nvSpPr>
              <p:cNvPr id="46270" name="Rectangle 29"/>
              <p:cNvSpPr>
                <a:spLocks noChangeArrowheads="1"/>
              </p:cNvSpPr>
              <p:nvPr/>
            </p:nvSpPr>
            <p:spPr bwMode="gray">
              <a:xfrm>
                <a:off x="4344" y="2884"/>
                <a:ext cx="576" cy="220"/>
              </a:xfrm>
              <a:prstGeom prst="rect">
                <a:avLst/>
              </a:prstGeom>
              <a:solidFill>
                <a:srgbClr val="CCECFF"/>
              </a:solidFill>
              <a:ln w="9525">
                <a:noFill/>
                <a:miter lim="800000"/>
                <a:headEnd/>
                <a:tailEnd/>
              </a:ln>
            </p:spPr>
            <p:txBody>
              <a:bodyPr anchor="ctr">
                <a:spAutoFit/>
              </a:bodyPr>
              <a:lstStyle/>
              <a:p>
                <a:pPr algn="ctr"/>
                <a:r>
                  <a:rPr lang="en-US" altLang="ja-JP" sz="1600" b="1">
                    <a:latin typeface="Times New Roman" charset="0"/>
                    <a:cs typeface="Times New Roman" charset="0"/>
                  </a:rPr>
                  <a:t>Internet</a:t>
                </a:r>
              </a:p>
            </p:txBody>
          </p:sp>
        </p:grpSp>
        <p:grpSp>
          <p:nvGrpSpPr>
            <p:cNvPr id="7" name="Group 30"/>
            <p:cNvGrpSpPr>
              <a:grpSpLocks/>
            </p:cNvGrpSpPr>
            <p:nvPr/>
          </p:nvGrpSpPr>
          <p:grpSpPr bwMode="auto">
            <a:xfrm>
              <a:off x="3696" y="1209"/>
              <a:ext cx="448" cy="454"/>
              <a:chOff x="3696" y="1209"/>
              <a:chExt cx="448" cy="454"/>
            </a:xfrm>
          </p:grpSpPr>
          <p:sp>
            <p:nvSpPr>
              <p:cNvPr id="46217" name="Freeform 31"/>
              <p:cNvSpPr>
                <a:spLocks/>
              </p:cNvSpPr>
              <p:nvPr/>
            </p:nvSpPr>
            <p:spPr bwMode="auto">
              <a:xfrm>
                <a:off x="3950" y="1495"/>
                <a:ext cx="54" cy="63"/>
              </a:xfrm>
              <a:custGeom>
                <a:avLst/>
                <a:gdLst>
                  <a:gd name="T0" fmla="*/ 0 w 270"/>
                  <a:gd name="T1" fmla="*/ 0 h 315"/>
                  <a:gd name="T2" fmla="*/ 0 w 270"/>
                  <a:gd name="T3" fmla="*/ 0 h 315"/>
                  <a:gd name="T4" fmla="*/ 0 w 270"/>
                  <a:gd name="T5" fmla="*/ 0 h 315"/>
                  <a:gd name="T6" fmla="*/ 0 w 270"/>
                  <a:gd name="T7" fmla="*/ 0 h 315"/>
                  <a:gd name="T8" fmla="*/ 0 w 270"/>
                  <a:gd name="T9" fmla="*/ 0 h 315"/>
                  <a:gd name="T10" fmla="*/ 0 60000 65536"/>
                  <a:gd name="T11" fmla="*/ 0 60000 65536"/>
                  <a:gd name="T12" fmla="*/ 0 60000 65536"/>
                  <a:gd name="T13" fmla="*/ 0 60000 65536"/>
                  <a:gd name="T14" fmla="*/ 0 60000 65536"/>
                  <a:gd name="T15" fmla="*/ 0 w 270"/>
                  <a:gd name="T16" fmla="*/ 0 h 315"/>
                  <a:gd name="T17" fmla="*/ 270 w 270"/>
                  <a:gd name="T18" fmla="*/ 315 h 315"/>
                </a:gdLst>
                <a:ahLst/>
                <a:cxnLst>
                  <a:cxn ang="T10">
                    <a:pos x="T0" y="T1"/>
                  </a:cxn>
                  <a:cxn ang="T11">
                    <a:pos x="T2" y="T3"/>
                  </a:cxn>
                  <a:cxn ang="T12">
                    <a:pos x="T4" y="T5"/>
                  </a:cxn>
                  <a:cxn ang="T13">
                    <a:pos x="T6" y="T7"/>
                  </a:cxn>
                  <a:cxn ang="T14">
                    <a:pos x="T8" y="T9"/>
                  </a:cxn>
                </a:cxnLst>
                <a:rect l="T15" t="T16" r="T17" b="T18"/>
                <a:pathLst>
                  <a:path w="270" h="315">
                    <a:moveTo>
                      <a:pt x="19" y="0"/>
                    </a:moveTo>
                    <a:lnTo>
                      <a:pt x="0" y="28"/>
                    </a:lnTo>
                    <a:lnTo>
                      <a:pt x="257" y="315"/>
                    </a:lnTo>
                    <a:lnTo>
                      <a:pt x="270" y="304"/>
                    </a:lnTo>
                    <a:lnTo>
                      <a:pt x="19" y="0"/>
                    </a:lnTo>
                    <a:close/>
                  </a:path>
                </a:pathLst>
              </a:custGeom>
              <a:solidFill>
                <a:srgbClr val="C0C0C0"/>
              </a:solidFill>
              <a:ln w="9525">
                <a:noFill/>
                <a:round/>
                <a:headEnd/>
                <a:tailEnd/>
              </a:ln>
            </p:spPr>
            <p:txBody>
              <a:bodyPr/>
              <a:lstStyle/>
              <a:p>
                <a:endParaRPr lang="ja-JP" altLang="en-US" sz="1600" b="1">
                  <a:latin typeface="Times New Roman" charset="0"/>
                  <a:cs typeface="Times New Roman" charset="0"/>
                </a:endParaRPr>
              </a:p>
            </p:txBody>
          </p:sp>
          <p:sp>
            <p:nvSpPr>
              <p:cNvPr id="46218" name="Freeform 32"/>
              <p:cNvSpPr>
                <a:spLocks/>
              </p:cNvSpPr>
              <p:nvPr/>
            </p:nvSpPr>
            <p:spPr bwMode="auto">
              <a:xfrm>
                <a:off x="3950" y="1495"/>
                <a:ext cx="54" cy="63"/>
              </a:xfrm>
              <a:custGeom>
                <a:avLst/>
                <a:gdLst>
                  <a:gd name="T0" fmla="*/ 0 w 270"/>
                  <a:gd name="T1" fmla="*/ 0 h 315"/>
                  <a:gd name="T2" fmla="*/ 0 w 270"/>
                  <a:gd name="T3" fmla="*/ 0 h 315"/>
                  <a:gd name="T4" fmla="*/ 0 w 270"/>
                  <a:gd name="T5" fmla="*/ 0 h 315"/>
                  <a:gd name="T6" fmla="*/ 0 w 270"/>
                  <a:gd name="T7" fmla="*/ 0 h 315"/>
                  <a:gd name="T8" fmla="*/ 0 w 270"/>
                  <a:gd name="T9" fmla="*/ 0 h 315"/>
                  <a:gd name="T10" fmla="*/ 0 60000 65536"/>
                  <a:gd name="T11" fmla="*/ 0 60000 65536"/>
                  <a:gd name="T12" fmla="*/ 0 60000 65536"/>
                  <a:gd name="T13" fmla="*/ 0 60000 65536"/>
                  <a:gd name="T14" fmla="*/ 0 60000 65536"/>
                  <a:gd name="T15" fmla="*/ 0 w 270"/>
                  <a:gd name="T16" fmla="*/ 0 h 315"/>
                  <a:gd name="T17" fmla="*/ 270 w 270"/>
                  <a:gd name="T18" fmla="*/ 315 h 315"/>
                </a:gdLst>
                <a:ahLst/>
                <a:cxnLst>
                  <a:cxn ang="T10">
                    <a:pos x="T0" y="T1"/>
                  </a:cxn>
                  <a:cxn ang="T11">
                    <a:pos x="T2" y="T3"/>
                  </a:cxn>
                  <a:cxn ang="T12">
                    <a:pos x="T4" y="T5"/>
                  </a:cxn>
                  <a:cxn ang="T13">
                    <a:pos x="T6" y="T7"/>
                  </a:cxn>
                  <a:cxn ang="T14">
                    <a:pos x="T8" y="T9"/>
                  </a:cxn>
                </a:cxnLst>
                <a:rect l="T15" t="T16" r="T17" b="T18"/>
                <a:pathLst>
                  <a:path w="270" h="315">
                    <a:moveTo>
                      <a:pt x="19" y="0"/>
                    </a:moveTo>
                    <a:lnTo>
                      <a:pt x="0" y="28"/>
                    </a:lnTo>
                    <a:lnTo>
                      <a:pt x="257" y="315"/>
                    </a:lnTo>
                    <a:lnTo>
                      <a:pt x="270" y="304"/>
                    </a:lnTo>
                    <a:lnTo>
                      <a:pt x="19" y="0"/>
                    </a:lnTo>
                    <a:close/>
                  </a:path>
                </a:pathLst>
              </a:custGeom>
              <a:noFill/>
              <a:ln w="3175">
                <a:solidFill>
                  <a:srgbClr val="000000"/>
                </a:solidFill>
                <a:round/>
                <a:headEnd/>
                <a:tailEnd/>
              </a:ln>
            </p:spPr>
            <p:txBody>
              <a:bodyPr/>
              <a:lstStyle/>
              <a:p>
                <a:endParaRPr lang="ja-JP" altLang="en-US" sz="1600" b="1">
                  <a:latin typeface="Times New Roman" charset="0"/>
                  <a:cs typeface="Times New Roman" charset="0"/>
                </a:endParaRPr>
              </a:p>
            </p:txBody>
          </p:sp>
          <p:sp>
            <p:nvSpPr>
              <p:cNvPr id="46219" name="Freeform 33"/>
              <p:cNvSpPr>
                <a:spLocks/>
              </p:cNvSpPr>
              <p:nvPr/>
            </p:nvSpPr>
            <p:spPr bwMode="auto">
              <a:xfrm>
                <a:off x="3696" y="1465"/>
                <a:ext cx="116" cy="58"/>
              </a:xfrm>
              <a:custGeom>
                <a:avLst/>
                <a:gdLst>
                  <a:gd name="T0" fmla="*/ 0 w 582"/>
                  <a:gd name="T1" fmla="*/ 0 h 292"/>
                  <a:gd name="T2" fmla="*/ 0 w 582"/>
                  <a:gd name="T3" fmla="*/ 0 h 292"/>
                  <a:gd name="T4" fmla="*/ 0 w 582"/>
                  <a:gd name="T5" fmla="*/ 0 h 292"/>
                  <a:gd name="T6" fmla="*/ 0 w 582"/>
                  <a:gd name="T7" fmla="*/ 0 h 292"/>
                  <a:gd name="T8" fmla="*/ 0 w 582"/>
                  <a:gd name="T9" fmla="*/ 0 h 292"/>
                  <a:gd name="T10" fmla="*/ 0 60000 65536"/>
                  <a:gd name="T11" fmla="*/ 0 60000 65536"/>
                  <a:gd name="T12" fmla="*/ 0 60000 65536"/>
                  <a:gd name="T13" fmla="*/ 0 60000 65536"/>
                  <a:gd name="T14" fmla="*/ 0 60000 65536"/>
                  <a:gd name="T15" fmla="*/ 0 w 582"/>
                  <a:gd name="T16" fmla="*/ 0 h 292"/>
                  <a:gd name="T17" fmla="*/ 582 w 582"/>
                  <a:gd name="T18" fmla="*/ 292 h 292"/>
                </a:gdLst>
                <a:ahLst/>
                <a:cxnLst>
                  <a:cxn ang="T10">
                    <a:pos x="T0" y="T1"/>
                  </a:cxn>
                  <a:cxn ang="T11">
                    <a:pos x="T2" y="T3"/>
                  </a:cxn>
                  <a:cxn ang="T12">
                    <a:pos x="T4" y="T5"/>
                  </a:cxn>
                  <a:cxn ang="T13">
                    <a:pos x="T6" y="T7"/>
                  </a:cxn>
                  <a:cxn ang="T14">
                    <a:pos x="T8" y="T9"/>
                  </a:cxn>
                </a:cxnLst>
                <a:rect l="T15" t="T16" r="T17" b="T18"/>
                <a:pathLst>
                  <a:path w="582" h="292">
                    <a:moveTo>
                      <a:pt x="564" y="0"/>
                    </a:moveTo>
                    <a:lnTo>
                      <a:pt x="582" y="45"/>
                    </a:lnTo>
                    <a:lnTo>
                      <a:pt x="6" y="292"/>
                    </a:lnTo>
                    <a:lnTo>
                      <a:pt x="0" y="269"/>
                    </a:lnTo>
                    <a:lnTo>
                      <a:pt x="564" y="0"/>
                    </a:lnTo>
                    <a:close/>
                  </a:path>
                </a:pathLst>
              </a:custGeom>
              <a:solidFill>
                <a:srgbClr val="C0C0C0"/>
              </a:solidFill>
              <a:ln w="9525">
                <a:noFill/>
                <a:round/>
                <a:headEnd/>
                <a:tailEnd/>
              </a:ln>
            </p:spPr>
            <p:txBody>
              <a:bodyPr/>
              <a:lstStyle/>
              <a:p>
                <a:endParaRPr lang="ja-JP" altLang="en-US" sz="1600" b="1">
                  <a:latin typeface="Times New Roman" charset="0"/>
                  <a:cs typeface="Times New Roman" charset="0"/>
                </a:endParaRPr>
              </a:p>
            </p:txBody>
          </p:sp>
          <p:sp>
            <p:nvSpPr>
              <p:cNvPr id="46220" name="Freeform 34"/>
              <p:cNvSpPr>
                <a:spLocks/>
              </p:cNvSpPr>
              <p:nvPr/>
            </p:nvSpPr>
            <p:spPr bwMode="auto">
              <a:xfrm>
                <a:off x="3696" y="1465"/>
                <a:ext cx="116" cy="58"/>
              </a:xfrm>
              <a:custGeom>
                <a:avLst/>
                <a:gdLst>
                  <a:gd name="T0" fmla="*/ 0 w 582"/>
                  <a:gd name="T1" fmla="*/ 0 h 292"/>
                  <a:gd name="T2" fmla="*/ 0 w 582"/>
                  <a:gd name="T3" fmla="*/ 0 h 292"/>
                  <a:gd name="T4" fmla="*/ 0 w 582"/>
                  <a:gd name="T5" fmla="*/ 0 h 292"/>
                  <a:gd name="T6" fmla="*/ 0 w 582"/>
                  <a:gd name="T7" fmla="*/ 0 h 292"/>
                  <a:gd name="T8" fmla="*/ 0 w 582"/>
                  <a:gd name="T9" fmla="*/ 0 h 292"/>
                  <a:gd name="T10" fmla="*/ 0 60000 65536"/>
                  <a:gd name="T11" fmla="*/ 0 60000 65536"/>
                  <a:gd name="T12" fmla="*/ 0 60000 65536"/>
                  <a:gd name="T13" fmla="*/ 0 60000 65536"/>
                  <a:gd name="T14" fmla="*/ 0 60000 65536"/>
                  <a:gd name="T15" fmla="*/ 0 w 582"/>
                  <a:gd name="T16" fmla="*/ 0 h 292"/>
                  <a:gd name="T17" fmla="*/ 582 w 582"/>
                  <a:gd name="T18" fmla="*/ 292 h 292"/>
                </a:gdLst>
                <a:ahLst/>
                <a:cxnLst>
                  <a:cxn ang="T10">
                    <a:pos x="T0" y="T1"/>
                  </a:cxn>
                  <a:cxn ang="T11">
                    <a:pos x="T2" y="T3"/>
                  </a:cxn>
                  <a:cxn ang="T12">
                    <a:pos x="T4" y="T5"/>
                  </a:cxn>
                  <a:cxn ang="T13">
                    <a:pos x="T6" y="T7"/>
                  </a:cxn>
                  <a:cxn ang="T14">
                    <a:pos x="T8" y="T9"/>
                  </a:cxn>
                </a:cxnLst>
                <a:rect l="T15" t="T16" r="T17" b="T18"/>
                <a:pathLst>
                  <a:path w="582" h="292">
                    <a:moveTo>
                      <a:pt x="564" y="0"/>
                    </a:moveTo>
                    <a:lnTo>
                      <a:pt x="582" y="45"/>
                    </a:lnTo>
                    <a:lnTo>
                      <a:pt x="6" y="292"/>
                    </a:lnTo>
                    <a:lnTo>
                      <a:pt x="0" y="269"/>
                    </a:lnTo>
                    <a:lnTo>
                      <a:pt x="564" y="0"/>
                    </a:lnTo>
                    <a:close/>
                  </a:path>
                </a:pathLst>
              </a:custGeom>
              <a:noFill/>
              <a:ln w="3175">
                <a:solidFill>
                  <a:srgbClr val="000000"/>
                </a:solidFill>
                <a:round/>
                <a:headEnd/>
                <a:tailEnd/>
              </a:ln>
            </p:spPr>
            <p:txBody>
              <a:bodyPr/>
              <a:lstStyle/>
              <a:p>
                <a:endParaRPr lang="ja-JP" altLang="en-US" sz="1600" b="1">
                  <a:latin typeface="Times New Roman" charset="0"/>
                  <a:cs typeface="Times New Roman" charset="0"/>
                </a:endParaRPr>
              </a:p>
            </p:txBody>
          </p:sp>
          <p:sp>
            <p:nvSpPr>
              <p:cNvPr id="46221" name="Freeform 35"/>
              <p:cNvSpPr>
                <a:spLocks/>
              </p:cNvSpPr>
              <p:nvPr/>
            </p:nvSpPr>
            <p:spPr bwMode="auto">
              <a:xfrm>
                <a:off x="3864" y="1529"/>
                <a:ext cx="27" cy="134"/>
              </a:xfrm>
              <a:custGeom>
                <a:avLst/>
                <a:gdLst>
                  <a:gd name="T0" fmla="*/ 0 w 138"/>
                  <a:gd name="T1" fmla="*/ 0 h 669"/>
                  <a:gd name="T2" fmla="*/ 0 w 138"/>
                  <a:gd name="T3" fmla="*/ 0 h 669"/>
                  <a:gd name="T4" fmla="*/ 0 w 138"/>
                  <a:gd name="T5" fmla="*/ 0 h 669"/>
                  <a:gd name="T6" fmla="*/ 0 w 138"/>
                  <a:gd name="T7" fmla="*/ 0 h 669"/>
                  <a:gd name="T8" fmla="*/ 0 w 138"/>
                  <a:gd name="T9" fmla="*/ 0 h 669"/>
                  <a:gd name="T10" fmla="*/ 0 60000 65536"/>
                  <a:gd name="T11" fmla="*/ 0 60000 65536"/>
                  <a:gd name="T12" fmla="*/ 0 60000 65536"/>
                  <a:gd name="T13" fmla="*/ 0 60000 65536"/>
                  <a:gd name="T14" fmla="*/ 0 60000 65536"/>
                  <a:gd name="T15" fmla="*/ 0 w 138"/>
                  <a:gd name="T16" fmla="*/ 0 h 669"/>
                  <a:gd name="T17" fmla="*/ 138 w 138"/>
                  <a:gd name="T18" fmla="*/ 669 h 669"/>
                </a:gdLst>
                <a:ahLst/>
                <a:cxnLst>
                  <a:cxn ang="T10">
                    <a:pos x="T0" y="T1"/>
                  </a:cxn>
                  <a:cxn ang="T11">
                    <a:pos x="T2" y="T3"/>
                  </a:cxn>
                  <a:cxn ang="T12">
                    <a:pos x="T4" y="T5"/>
                  </a:cxn>
                  <a:cxn ang="T13">
                    <a:pos x="T6" y="T7"/>
                  </a:cxn>
                  <a:cxn ang="T14">
                    <a:pos x="T8" y="T9"/>
                  </a:cxn>
                </a:cxnLst>
                <a:rect l="T15" t="T16" r="T17" b="T18"/>
                <a:pathLst>
                  <a:path w="138" h="669">
                    <a:moveTo>
                      <a:pt x="94" y="0"/>
                    </a:moveTo>
                    <a:lnTo>
                      <a:pt x="138" y="5"/>
                    </a:lnTo>
                    <a:lnTo>
                      <a:pt x="31" y="669"/>
                    </a:lnTo>
                    <a:lnTo>
                      <a:pt x="0" y="669"/>
                    </a:lnTo>
                    <a:lnTo>
                      <a:pt x="94" y="0"/>
                    </a:lnTo>
                    <a:close/>
                  </a:path>
                </a:pathLst>
              </a:custGeom>
              <a:solidFill>
                <a:srgbClr val="C0C0C0"/>
              </a:solidFill>
              <a:ln w="9525">
                <a:noFill/>
                <a:round/>
                <a:headEnd/>
                <a:tailEnd/>
              </a:ln>
            </p:spPr>
            <p:txBody>
              <a:bodyPr/>
              <a:lstStyle/>
              <a:p>
                <a:endParaRPr lang="ja-JP" altLang="en-US" sz="1600" b="1">
                  <a:latin typeface="Times New Roman" charset="0"/>
                  <a:cs typeface="Times New Roman" charset="0"/>
                </a:endParaRPr>
              </a:p>
            </p:txBody>
          </p:sp>
          <p:sp>
            <p:nvSpPr>
              <p:cNvPr id="46222" name="Freeform 36"/>
              <p:cNvSpPr>
                <a:spLocks/>
              </p:cNvSpPr>
              <p:nvPr/>
            </p:nvSpPr>
            <p:spPr bwMode="auto">
              <a:xfrm>
                <a:off x="3864" y="1529"/>
                <a:ext cx="27" cy="134"/>
              </a:xfrm>
              <a:custGeom>
                <a:avLst/>
                <a:gdLst>
                  <a:gd name="T0" fmla="*/ 0 w 138"/>
                  <a:gd name="T1" fmla="*/ 0 h 669"/>
                  <a:gd name="T2" fmla="*/ 0 w 138"/>
                  <a:gd name="T3" fmla="*/ 0 h 669"/>
                  <a:gd name="T4" fmla="*/ 0 w 138"/>
                  <a:gd name="T5" fmla="*/ 0 h 669"/>
                  <a:gd name="T6" fmla="*/ 0 w 138"/>
                  <a:gd name="T7" fmla="*/ 0 h 669"/>
                  <a:gd name="T8" fmla="*/ 0 w 138"/>
                  <a:gd name="T9" fmla="*/ 0 h 669"/>
                  <a:gd name="T10" fmla="*/ 0 60000 65536"/>
                  <a:gd name="T11" fmla="*/ 0 60000 65536"/>
                  <a:gd name="T12" fmla="*/ 0 60000 65536"/>
                  <a:gd name="T13" fmla="*/ 0 60000 65536"/>
                  <a:gd name="T14" fmla="*/ 0 60000 65536"/>
                  <a:gd name="T15" fmla="*/ 0 w 138"/>
                  <a:gd name="T16" fmla="*/ 0 h 669"/>
                  <a:gd name="T17" fmla="*/ 138 w 138"/>
                  <a:gd name="T18" fmla="*/ 669 h 669"/>
                </a:gdLst>
                <a:ahLst/>
                <a:cxnLst>
                  <a:cxn ang="T10">
                    <a:pos x="T0" y="T1"/>
                  </a:cxn>
                  <a:cxn ang="T11">
                    <a:pos x="T2" y="T3"/>
                  </a:cxn>
                  <a:cxn ang="T12">
                    <a:pos x="T4" y="T5"/>
                  </a:cxn>
                  <a:cxn ang="T13">
                    <a:pos x="T6" y="T7"/>
                  </a:cxn>
                  <a:cxn ang="T14">
                    <a:pos x="T8" y="T9"/>
                  </a:cxn>
                </a:cxnLst>
                <a:rect l="T15" t="T16" r="T17" b="T18"/>
                <a:pathLst>
                  <a:path w="138" h="669">
                    <a:moveTo>
                      <a:pt x="94" y="0"/>
                    </a:moveTo>
                    <a:lnTo>
                      <a:pt x="138" y="5"/>
                    </a:lnTo>
                    <a:lnTo>
                      <a:pt x="31" y="669"/>
                    </a:lnTo>
                    <a:lnTo>
                      <a:pt x="0" y="669"/>
                    </a:lnTo>
                    <a:lnTo>
                      <a:pt x="94" y="0"/>
                    </a:lnTo>
                    <a:close/>
                  </a:path>
                </a:pathLst>
              </a:custGeom>
              <a:noFill/>
              <a:ln w="3175">
                <a:solidFill>
                  <a:srgbClr val="000000"/>
                </a:solidFill>
                <a:round/>
                <a:headEnd/>
                <a:tailEnd/>
              </a:ln>
            </p:spPr>
            <p:txBody>
              <a:bodyPr/>
              <a:lstStyle/>
              <a:p>
                <a:endParaRPr lang="ja-JP" altLang="en-US" sz="1600" b="1">
                  <a:latin typeface="Times New Roman" charset="0"/>
                  <a:cs typeface="Times New Roman" charset="0"/>
                </a:endParaRPr>
              </a:p>
            </p:txBody>
          </p:sp>
          <p:sp>
            <p:nvSpPr>
              <p:cNvPr id="46223" name="Freeform 37"/>
              <p:cNvSpPr>
                <a:spLocks/>
              </p:cNvSpPr>
              <p:nvPr/>
            </p:nvSpPr>
            <p:spPr bwMode="auto">
              <a:xfrm>
                <a:off x="3791" y="1357"/>
                <a:ext cx="44" cy="131"/>
              </a:xfrm>
              <a:custGeom>
                <a:avLst/>
                <a:gdLst>
                  <a:gd name="T0" fmla="*/ 0 w 221"/>
                  <a:gd name="T1" fmla="*/ 0 h 657"/>
                  <a:gd name="T2" fmla="*/ 0 w 221"/>
                  <a:gd name="T3" fmla="*/ 0 h 657"/>
                  <a:gd name="T4" fmla="*/ 0 w 221"/>
                  <a:gd name="T5" fmla="*/ 0 h 657"/>
                  <a:gd name="T6" fmla="*/ 0 w 221"/>
                  <a:gd name="T7" fmla="*/ 0 h 657"/>
                  <a:gd name="T8" fmla="*/ 0 w 221"/>
                  <a:gd name="T9" fmla="*/ 0 h 657"/>
                  <a:gd name="T10" fmla="*/ 0 60000 65536"/>
                  <a:gd name="T11" fmla="*/ 0 60000 65536"/>
                  <a:gd name="T12" fmla="*/ 0 60000 65536"/>
                  <a:gd name="T13" fmla="*/ 0 60000 65536"/>
                  <a:gd name="T14" fmla="*/ 0 60000 65536"/>
                  <a:gd name="T15" fmla="*/ 0 w 221"/>
                  <a:gd name="T16" fmla="*/ 0 h 657"/>
                  <a:gd name="T17" fmla="*/ 221 w 221"/>
                  <a:gd name="T18" fmla="*/ 657 h 657"/>
                </a:gdLst>
                <a:ahLst/>
                <a:cxnLst>
                  <a:cxn ang="T10">
                    <a:pos x="T0" y="T1"/>
                  </a:cxn>
                  <a:cxn ang="T11">
                    <a:pos x="T2" y="T3"/>
                  </a:cxn>
                  <a:cxn ang="T12">
                    <a:pos x="T4" y="T5"/>
                  </a:cxn>
                  <a:cxn ang="T13">
                    <a:pos x="T6" y="T7"/>
                  </a:cxn>
                  <a:cxn ang="T14">
                    <a:pos x="T8" y="T9"/>
                  </a:cxn>
                </a:cxnLst>
                <a:rect l="T15" t="T16" r="T17" b="T18"/>
                <a:pathLst>
                  <a:path w="221" h="657">
                    <a:moveTo>
                      <a:pt x="215" y="0"/>
                    </a:moveTo>
                    <a:lnTo>
                      <a:pt x="0" y="480"/>
                    </a:lnTo>
                    <a:lnTo>
                      <a:pt x="13" y="657"/>
                    </a:lnTo>
                    <a:lnTo>
                      <a:pt x="221" y="189"/>
                    </a:lnTo>
                    <a:lnTo>
                      <a:pt x="215" y="0"/>
                    </a:lnTo>
                    <a:close/>
                  </a:path>
                </a:pathLst>
              </a:custGeom>
              <a:solidFill>
                <a:srgbClr val="BFBFDF"/>
              </a:solidFill>
              <a:ln w="9525">
                <a:noFill/>
                <a:round/>
                <a:headEnd/>
                <a:tailEnd/>
              </a:ln>
            </p:spPr>
            <p:txBody>
              <a:bodyPr/>
              <a:lstStyle/>
              <a:p>
                <a:endParaRPr lang="ja-JP" altLang="en-US" sz="1600" b="1">
                  <a:latin typeface="Times New Roman" charset="0"/>
                  <a:cs typeface="Times New Roman" charset="0"/>
                </a:endParaRPr>
              </a:p>
            </p:txBody>
          </p:sp>
          <p:sp>
            <p:nvSpPr>
              <p:cNvPr id="46224" name="Freeform 38"/>
              <p:cNvSpPr>
                <a:spLocks/>
              </p:cNvSpPr>
              <p:nvPr/>
            </p:nvSpPr>
            <p:spPr bwMode="auto">
              <a:xfrm>
                <a:off x="3791" y="1357"/>
                <a:ext cx="44" cy="131"/>
              </a:xfrm>
              <a:custGeom>
                <a:avLst/>
                <a:gdLst>
                  <a:gd name="T0" fmla="*/ 0 w 221"/>
                  <a:gd name="T1" fmla="*/ 0 h 657"/>
                  <a:gd name="T2" fmla="*/ 0 w 221"/>
                  <a:gd name="T3" fmla="*/ 0 h 657"/>
                  <a:gd name="T4" fmla="*/ 0 w 221"/>
                  <a:gd name="T5" fmla="*/ 0 h 657"/>
                  <a:gd name="T6" fmla="*/ 0 w 221"/>
                  <a:gd name="T7" fmla="*/ 0 h 657"/>
                  <a:gd name="T8" fmla="*/ 0 w 221"/>
                  <a:gd name="T9" fmla="*/ 0 h 657"/>
                  <a:gd name="T10" fmla="*/ 0 60000 65536"/>
                  <a:gd name="T11" fmla="*/ 0 60000 65536"/>
                  <a:gd name="T12" fmla="*/ 0 60000 65536"/>
                  <a:gd name="T13" fmla="*/ 0 60000 65536"/>
                  <a:gd name="T14" fmla="*/ 0 60000 65536"/>
                  <a:gd name="T15" fmla="*/ 0 w 221"/>
                  <a:gd name="T16" fmla="*/ 0 h 657"/>
                  <a:gd name="T17" fmla="*/ 221 w 221"/>
                  <a:gd name="T18" fmla="*/ 657 h 657"/>
                </a:gdLst>
                <a:ahLst/>
                <a:cxnLst>
                  <a:cxn ang="T10">
                    <a:pos x="T0" y="T1"/>
                  </a:cxn>
                  <a:cxn ang="T11">
                    <a:pos x="T2" y="T3"/>
                  </a:cxn>
                  <a:cxn ang="T12">
                    <a:pos x="T4" y="T5"/>
                  </a:cxn>
                  <a:cxn ang="T13">
                    <a:pos x="T6" y="T7"/>
                  </a:cxn>
                  <a:cxn ang="T14">
                    <a:pos x="T8" y="T9"/>
                  </a:cxn>
                </a:cxnLst>
                <a:rect l="T15" t="T16" r="T17" b="T18"/>
                <a:pathLst>
                  <a:path w="221" h="657">
                    <a:moveTo>
                      <a:pt x="215" y="0"/>
                    </a:moveTo>
                    <a:lnTo>
                      <a:pt x="0" y="480"/>
                    </a:lnTo>
                    <a:lnTo>
                      <a:pt x="13" y="657"/>
                    </a:lnTo>
                    <a:lnTo>
                      <a:pt x="221" y="189"/>
                    </a:lnTo>
                    <a:lnTo>
                      <a:pt x="215" y="0"/>
                    </a:lnTo>
                    <a:close/>
                  </a:path>
                </a:pathLst>
              </a:custGeom>
              <a:noFill/>
              <a:ln w="3175">
                <a:solidFill>
                  <a:srgbClr val="000000"/>
                </a:solidFill>
                <a:round/>
                <a:headEnd/>
                <a:tailEnd/>
              </a:ln>
            </p:spPr>
            <p:txBody>
              <a:bodyPr/>
              <a:lstStyle/>
              <a:p>
                <a:endParaRPr lang="ja-JP" altLang="en-US" sz="1600" b="1">
                  <a:latin typeface="Times New Roman" charset="0"/>
                  <a:cs typeface="Times New Roman" charset="0"/>
                </a:endParaRPr>
              </a:p>
            </p:txBody>
          </p:sp>
          <p:sp>
            <p:nvSpPr>
              <p:cNvPr id="46225" name="Freeform 39"/>
              <p:cNvSpPr>
                <a:spLocks/>
              </p:cNvSpPr>
              <p:nvPr/>
            </p:nvSpPr>
            <p:spPr bwMode="auto">
              <a:xfrm>
                <a:off x="3793" y="1396"/>
                <a:ext cx="75" cy="125"/>
              </a:xfrm>
              <a:custGeom>
                <a:avLst/>
                <a:gdLst>
                  <a:gd name="T0" fmla="*/ 0 w 371"/>
                  <a:gd name="T1" fmla="*/ 0 h 625"/>
                  <a:gd name="T2" fmla="*/ 0 w 371"/>
                  <a:gd name="T3" fmla="*/ 0 h 625"/>
                  <a:gd name="T4" fmla="*/ 0 w 371"/>
                  <a:gd name="T5" fmla="*/ 0 h 625"/>
                  <a:gd name="T6" fmla="*/ 0 w 371"/>
                  <a:gd name="T7" fmla="*/ 0 h 625"/>
                  <a:gd name="T8" fmla="*/ 0 w 371"/>
                  <a:gd name="T9" fmla="*/ 0 h 625"/>
                  <a:gd name="T10" fmla="*/ 0 60000 65536"/>
                  <a:gd name="T11" fmla="*/ 0 60000 65536"/>
                  <a:gd name="T12" fmla="*/ 0 60000 65536"/>
                  <a:gd name="T13" fmla="*/ 0 60000 65536"/>
                  <a:gd name="T14" fmla="*/ 0 60000 65536"/>
                  <a:gd name="T15" fmla="*/ 0 w 371"/>
                  <a:gd name="T16" fmla="*/ 0 h 625"/>
                  <a:gd name="T17" fmla="*/ 371 w 371"/>
                  <a:gd name="T18" fmla="*/ 625 h 625"/>
                </a:gdLst>
                <a:ahLst/>
                <a:cxnLst>
                  <a:cxn ang="T10">
                    <a:pos x="T0" y="T1"/>
                  </a:cxn>
                  <a:cxn ang="T11">
                    <a:pos x="T2" y="T3"/>
                  </a:cxn>
                  <a:cxn ang="T12">
                    <a:pos x="T4" y="T5"/>
                  </a:cxn>
                  <a:cxn ang="T13">
                    <a:pos x="T6" y="T7"/>
                  </a:cxn>
                  <a:cxn ang="T14">
                    <a:pos x="T8" y="T9"/>
                  </a:cxn>
                </a:cxnLst>
                <a:rect l="T15" t="T16" r="T17" b="T18"/>
                <a:pathLst>
                  <a:path w="371" h="625">
                    <a:moveTo>
                      <a:pt x="208" y="0"/>
                    </a:moveTo>
                    <a:lnTo>
                      <a:pt x="0" y="453"/>
                    </a:lnTo>
                    <a:lnTo>
                      <a:pt x="151" y="625"/>
                    </a:lnTo>
                    <a:lnTo>
                      <a:pt x="371" y="132"/>
                    </a:lnTo>
                    <a:lnTo>
                      <a:pt x="208" y="0"/>
                    </a:lnTo>
                    <a:close/>
                  </a:path>
                </a:pathLst>
              </a:custGeom>
              <a:solidFill>
                <a:srgbClr val="DFDFFF"/>
              </a:solidFill>
              <a:ln w="9525">
                <a:noFill/>
                <a:round/>
                <a:headEnd/>
                <a:tailEnd/>
              </a:ln>
            </p:spPr>
            <p:txBody>
              <a:bodyPr/>
              <a:lstStyle/>
              <a:p>
                <a:endParaRPr lang="ja-JP" altLang="en-US" sz="1600" b="1">
                  <a:latin typeface="Times New Roman" charset="0"/>
                  <a:cs typeface="Times New Roman" charset="0"/>
                </a:endParaRPr>
              </a:p>
            </p:txBody>
          </p:sp>
          <p:sp>
            <p:nvSpPr>
              <p:cNvPr id="46226" name="Freeform 40"/>
              <p:cNvSpPr>
                <a:spLocks/>
              </p:cNvSpPr>
              <p:nvPr/>
            </p:nvSpPr>
            <p:spPr bwMode="auto">
              <a:xfrm>
                <a:off x="3793" y="1396"/>
                <a:ext cx="75" cy="125"/>
              </a:xfrm>
              <a:custGeom>
                <a:avLst/>
                <a:gdLst>
                  <a:gd name="T0" fmla="*/ 0 w 371"/>
                  <a:gd name="T1" fmla="*/ 0 h 625"/>
                  <a:gd name="T2" fmla="*/ 0 w 371"/>
                  <a:gd name="T3" fmla="*/ 0 h 625"/>
                  <a:gd name="T4" fmla="*/ 0 w 371"/>
                  <a:gd name="T5" fmla="*/ 0 h 625"/>
                  <a:gd name="T6" fmla="*/ 0 w 371"/>
                  <a:gd name="T7" fmla="*/ 0 h 625"/>
                  <a:gd name="T8" fmla="*/ 0 w 371"/>
                  <a:gd name="T9" fmla="*/ 0 h 625"/>
                  <a:gd name="T10" fmla="*/ 0 60000 65536"/>
                  <a:gd name="T11" fmla="*/ 0 60000 65536"/>
                  <a:gd name="T12" fmla="*/ 0 60000 65536"/>
                  <a:gd name="T13" fmla="*/ 0 60000 65536"/>
                  <a:gd name="T14" fmla="*/ 0 60000 65536"/>
                  <a:gd name="T15" fmla="*/ 0 w 371"/>
                  <a:gd name="T16" fmla="*/ 0 h 625"/>
                  <a:gd name="T17" fmla="*/ 371 w 371"/>
                  <a:gd name="T18" fmla="*/ 625 h 625"/>
                </a:gdLst>
                <a:ahLst/>
                <a:cxnLst>
                  <a:cxn ang="T10">
                    <a:pos x="T0" y="T1"/>
                  </a:cxn>
                  <a:cxn ang="T11">
                    <a:pos x="T2" y="T3"/>
                  </a:cxn>
                  <a:cxn ang="T12">
                    <a:pos x="T4" y="T5"/>
                  </a:cxn>
                  <a:cxn ang="T13">
                    <a:pos x="T6" y="T7"/>
                  </a:cxn>
                  <a:cxn ang="T14">
                    <a:pos x="T8" y="T9"/>
                  </a:cxn>
                </a:cxnLst>
                <a:rect l="T15" t="T16" r="T17" b="T18"/>
                <a:pathLst>
                  <a:path w="371" h="625">
                    <a:moveTo>
                      <a:pt x="208" y="0"/>
                    </a:moveTo>
                    <a:lnTo>
                      <a:pt x="0" y="453"/>
                    </a:lnTo>
                    <a:lnTo>
                      <a:pt x="151" y="625"/>
                    </a:lnTo>
                    <a:lnTo>
                      <a:pt x="371" y="132"/>
                    </a:lnTo>
                    <a:lnTo>
                      <a:pt x="208" y="0"/>
                    </a:lnTo>
                    <a:close/>
                  </a:path>
                </a:pathLst>
              </a:custGeom>
              <a:noFill/>
              <a:ln w="3175">
                <a:solidFill>
                  <a:srgbClr val="000000"/>
                </a:solidFill>
                <a:round/>
                <a:headEnd/>
                <a:tailEnd/>
              </a:ln>
            </p:spPr>
            <p:txBody>
              <a:bodyPr/>
              <a:lstStyle/>
              <a:p>
                <a:endParaRPr lang="ja-JP" altLang="en-US" sz="1600" b="1">
                  <a:latin typeface="Times New Roman" charset="0"/>
                  <a:cs typeface="Times New Roman" charset="0"/>
                </a:endParaRPr>
              </a:p>
            </p:txBody>
          </p:sp>
          <p:sp>
            <p:nvSpPr>
              <p:cNvPr id="46227" name="Freeform 41"/>
              <p:cNvSpPr>
                <a:spLocks/>
              </p:cNvSpPr>
              <p:nvPr/>
            </p:nvSpPr>
            <p:spPr bwMode="auto">
              <a:xfrm>
                <a:off x="3822" y="1423"/>
                <a:ext cx="88" cy="121"/>
              </a:xfrm>
              <a:custGeom>
                <a:avLst/>
                <a:gdLst>
                  <a:gd name="T0" fmla="*/ 0 w 438"/>
                  <a:gd name="T1" fmla="*/ 0 h 607"/>
                  <a:gd name="T2" fmla="*/ 0 w 438"/>
                  <a:gd name="T3" fmla="*/ 0 h 607"/>
                  <a:gd name="T4" fmla="*/ 0 w 438"/>
                  <a:gd name="T5" fmla="*/ 0 h 607"/>
                  <a:gd name="T6" fmla="*/ 0 w 438"/>
                  <a:gd name="T7" fmla="*/ 0 h 607"/>
                  <a:gd name="T8" fmla="*/ 0 w 438"/>
                  <a:gd name="T9" fmla="*/ 0 h 607"/>
                  <a:gd name="T10" fmla="*/ 0 60000 65536"/>
                  <a:gd name="T11" fmla="*/ 0 60000 65536"/>
                  <a:gd name="T12" fmla="*/ 0 60000 65536"/>
                  <a:gd name="T13" fmla="*/ 0 60000 65536"/>
                  <a:gd name="T14" fmla="*/ 0 60000 65536"/>
                  <a:gd name="T15" fmla="*/ 0 w 438"/>
                  <a:gd name="T16" fmla="*/ 0 h 607"/>
                  <a:gd name="T17" fmla="*/ 438 w 438"/>
                  <a:gd name="T18" fmla="*/ 607 h 607"/>
                </a:gdLst>
                <a:ahLst/>
                <a:cxnLst>
                  <a:cxn ang="T10">
                    <a:pos x="T0" y="T1"/>
                  </a:cxn>
                  <a:cxn ang="T11">
                    <a:pos x="T2" y="T3"/>
                  </a:cxn>
                  <a:cxn ang="T12">
                    <a:pos x="T4" y="T5"/>
                  </a:cxn>
                  <a:cxn ang="T13">
                    <a:pos x="T6" y="T7"/>
                  </a:cxn>
                  <a:cxn ang="T14">
                    <a:pos x="T8" y="T9"/>
                  </a:cxn>
                </a:cxnLst>
                <a:rect l="T15" t="T16" r="T17" b="T18"/>
                <a:pathLst>
                  <a:path w="438" h="607">
                    <a:moveTo>
                      <a:pt x="226" y="0"/>
                    </a:moveTo>
                    <a:lnTo>
                      <a:pt x="0" y="493"/>
                    </a:lnTo>
                    <a:lnTo>
                      <a:pt x="207" y="607"/>
                    </a:lnTo>
                    <a:lnTo>
                      <a:pt x="438" y="97"/>
                    </a:lnTo>
                    <a:lnTo>
                      <a:pt x="226" y="0"/>
                    </a:lnTo>
                    <a:close/>
                  </a:path>
                </a:pathLst>
              </a:custGeom>
              <a:solidFill>
                <a:srgbClr val="BFBFDF"/>
              </a:solidFill>
              <a:ln w="9525">
                <a:noFill/>
                <a:round/>
                <a:headEnd/>
                <a:tailEnd/>
              </a:ln>
            </p:spPr>
            <p:txBody>
              <a:bodyPr/>
              <a:lstStyle/>
              <a:p>
                <a:endParaRPr lang="ja-JP" altLang="en-US" sz="1600" b="1">
                  <a:latin typeface="Times New Roman" charset="0"/>
                  <a:cs typeface="Times New Roman" charset="0"/>
                </a:endParaRPr>
              </a:p>
            </p:txBody>
          </p:sp>
          <p:sp>
            <p:nvSpPr>
              <p:cNvPr id="46228" name="Freeform 42"/>
              <p:cNvSpPr>
                <a:spLocks/>
              </p:cNvSpPr>
              <p:nvPr/>
            </p:nvSpPr>
            <p:spPr bwMode="auto">
              <a:xfrm>
                <a:off x="3822" y="1423"/>
                <a:ext cx="88" cy="121"/>
              </a:xfrm>
              <a:custGeom>
                <a:avLst/>
                <a:gdLst>
                  <a:gd name="T0" fmla="*/ 0 w 438"/>
                  <a:gd name="T1" fmla="*/ 0 h 607"/>
                  <a:gd name="T2" fmla="*/ 0 w 438"/>
                  <a:gd name="T3" fmla="*/ 0 h 607"/>
                  <a:gd name="T4" fmla="*/ 0 w 438"/>
                  <a:gd name="T5" fmla="*/ 0 h 607"/>
                  <a:gd name="T6" fmla="*/ 0 w 438"/>
                  <a:gd name="T7" fmla="*/ 0 h 607"/>
                  <a:gd name="T8" fmla="*/ 0 w 438"/>
                  <a:gd name="T9" fmla="*/ 0 h 607"/>
                  <a:gd name="T10" fmla="*/ 0 60000 65536"/>
                  <a:gd name="T11" fmla="*/ 0 60000 65536"/>
                  <a:gd name="T12" fmla="*/ 0 60000 65536"/>
                  <a:gd name="T13" fmla="*/ 0 60000 65536"/>
                  <a:gd name="T14" fmla="*/ 0 60000 65536"/>
                  <a:gd name="T15" fmla="*/ 0 w 438"/>
                  <a:gd name="T16" fmla="*/ 0 h 607"/>
                  <a:gd name="T17" fmla="*/ 438 w 438"/>
                  <a:gd name="T18" fmla="*/ 607 h 607"/>
                </a:gdLst>
                <a:ahLst/>
                <a:cxnLst>
                  <a:cxn ang="T10">
                    <a:pos x="T0" y="T1"/>
                  </a:cxn>
                  <a:cxn ang="T11">
                    <a:pos x="T2" y="T3"/>
                  </a:cxn>
                  <a:cxn ang="T12">
                    <a:pos x="T4" y="T5"/>
                  </a:cxn>
                  <a:cxn ang="T13">
                    <a:pos x="T6" y="T7"/>
                  </a:cxn>
                  <a:cxn ang="T14">
                    <a:pos x="T8" y="T9"/>
                  </a:cxn>
                </a:cxnLst>
                <a:rect l="T15" t="T16" r="T17" b="T18"/>
                <a:pathLst>
                  <a:path w="438" h="607">
                    <a:moveTo>
                      <a:pt x="226" y="0"/>
                    </a:moveTo>
                    <a:lnTo>
                      <a:pt x="0" y="493"/>
                    </a:lnTo>
                    <a:lnTo>
                      <a:pt x="207" y="607"/>
                    </a:lnTo>
                    <a:lnTo>
                      <a:pt x="438" y="97"/>
                    </a:lnTo>
                    <a:lnTo>
                      <a:pt x="226" y="0"/>
                    </a:lnTo>
                    <a:close/>
                  </a:path>
                </a:pathLst>
              </a:custGeom>
              <a:noFill/>
              <a:ln w="3175">
                <a:solidFill>
                  <a:srgbClr val="000000"/>
                </a:solidFill>
                <a:round/>
                <a:headEnd/>
                <a:tailEnd/>
              </a:ln>
            </p:spPr>
            <p:txBody>
              <a:bodyPr/>
              <a:lstStyle/>
              <a:p>
                <a:endParaRPr lang="ja-JP" altLang="en-US" sz="1600" b="1">
                  <a:latin typeface="Times New Roman" charset="0"/>
                  <a:cs typeface="Times New Roman" charset="0"/>
                </a:endParaRPr>
              </a:p>
            </p:txBody>
          </p:sp>
          <p:sp>
            <p:nvSpPr>
              <p:cNvPr id="46229" name="Freeform 43"/>
              <p:cNvSpPr>
                <a:spLocks/>
              </p:cNvSpPr>
              <p:nvPr/>
            </p:nvSpPr>
            <p:spPr bwMode="auto">
              <a:xfrm>
                <a:off x="3864" y="1443"/>
                <a:ext cx="96" cy="101"/>
              </a:xfrm>
              <a:custGeom>
                <a:avLst/>
                <a:gdLst>
                  <a:gd name="T0" fmla="*/ 0 w 482"/>
                  <a:gd name="T1" fmla="*/ 0 h 504"/>
                  <a:gd name="T2" fmla="*/ 0 w 482"/>
                  <a:gd name="T3" fmla="*/ 0 h 504"/>
                  <a:gd name="T4" fmla="*/ 0 w 482"/>
                  <a:gd name="T5" fmla="*/ 0 h 504"/>
                  <a:gd name="T6" fmla="*/ 0 w 482"/>
                  <a:gd name="T7" fmla="*/ 0 h 504"/>
                  <a:gd name="T8" fmla="*/ 0 w 482"/>
                  <a:gd name="T9" fmla="*/ 0 h 504"/>
                  <a:gd name="T10" fmla="*/ 0 60000 65536"/>
                  <a:gd name="T11" fmla="*/ 0 60000 65536"/>
                  <a:gd name="T12" fmla="*/ 0 60000 65536"/>
                  <a:gd name="T13" fmla="*/ 0 60000 65536"/>
                  <a:gd name="T14" fmla="*/ 0 60000 65536"/>
                  <a:gd name="T15" fmla="*/ 0 w 482"/>
                  <a:gd name="T16" fmla="*/ 0 h 504"/>
                  <a:gd name="T17" fmla="*/ 482 w 482"/>
                  <a:gd name="T18" fmla="*/ 504 h 504"/>
                </a:gdLst>
                <a:ahLst/>
                <a:cxnLst>
                  <a:cxn ang="T10">
                    <a:pos x="T0" y="T1"/>
                  </a:cxn>
                  <a:cxn ang="T11">
                    <a:pos x="T2" y="T3"/>
                  </a:cxn>
                  <a:cxn ang="T12">
                    <a:pos x="T4" y="T5"/>
                  </a:cxn>
                  <a:cxn ang="T13">
                    <a:pos x="T6" y="T7"/>
                  </a:cxn>
                  <a:cxn ang="T14">
                    <a:pos x="T8" y="T9"/>
                  </a:cxn>
                </a:cxnLst>
                <a:rect l="T15" t="T16" r="T17" b="T18"/>
                <a:pathLst>
                  <a:path w="482" h="504">
                    <a:moveTo>
                      <a:pt x="226" y="0"/>
                    </a:moveTo>
                    <a:lnTo>
                      <a:pt x="482" y="34"/>
                    </a:lnTo>
                    <a:lnTo>
                      <a:pt x="244" y="504"/>
                    </a:lnTo>
                    <a:lnTo>
                      <a:pt x="0" y="498"/>
                    </a:lnTo>
                    <a:lnTo>
                      <a:pt x="226" y="0"/>
                    </a:lnTo>
                    <a:close/>
                  </a:path>
                </a:pathLst>
              </a:custGeom>
              <a:solidFill>
                <a:srgbClr val="9F9FBF"/>
              </a:solidFill>
              <a:ln w="9525">
                <a:noFill/>
                <a:round/>
                <a:headEnd/>
                <a:tailEnd/>
              </a:ln>
            </p:spPr>
            <p:txBody>
              <a:bodyPr/>
              <a:lstStyle/>
              <a:p>
                <a:endParaRPr lang="ja-JP" altLang="en-US" sz="1600" b="1">
                  <a:latin typeface="Times New Roman" charset="0"/>
                  <a:cs typeface="Times New Roman" charset="0"/>
                </a:endParaRPr>
              </a:p>
            </p:txBody>
          </p:sp>
          <p:sp>
            <p:nvSpPr>
              <p:cNvPr id="46230" name="Freeform 44"/>
              <p:cNvSpPr>
                <a:spLocks/>
              </p:cNvSpPr>
              <p:nvPr/>
            </p:nvSpPr>
            <p:spPr bwMode="auto">
              <a:xfrm>
                <a:off x="3864" y="1443"/>
                <a:ext cx="96" cy="101"/>
              </a:xfrm>
              <a:custGeom>
                <a:avLst/>
                <a:gdLst>
                  <a:gd name="T0" fmla="*/ 0 w 482"/>
                  <a:gd name="T1" fmla="*/ 0 h 504"/>
                  <a:gd name="T2" fmla="*/ 0 w 482"/>
                  <a:gd name="T3" fmla="*/ 0 h 504"/>
                  <a:gd name="T4" fmla="*/ 0 w 482"/>
                  <a:gd name="T5" fmla="*/ 0 h 504"/>
                  <a:gd name="T6" fmla="*/ 0 w 482"/>
                  <a:gd name="T7" fmla="*/ 0 h 504"/>
                  <a:gd name="T8" fmla="*/ 0 w 482"/>
                  <a:gd name="T9" fmla="*/ 0 h 504"/>
                  <a:gd name="T10" fmla="*/ 0 60000 65536"/>
                  <a:gd name="T11" fmla="*/ 0 60000 65536"/>
                  <a:gd name="T12" fmla="*/ 0 60000 65536"/>
                  <a:gd name="T13" fmla="*/ 0 60000 65536"/>
                  <a:gd name="T14" fmla="*/ 0 60000 65536"/>
                  <a:gd name="T15" fmla="*/ 0 w 482"/>
                  <a:gd name="T16" fmla="*/ 0 h 504"/>
                  <a:gd name="T17" fmla="*/ 482 w 482"/>
                  <a:gd name="T18" fmla="*/ 504 h 504"/>
                </a:gdLst>
                <a:ahLst/>
                <a:cxnLst>
                  <a:cxn ang="T10">
                    <a:pos x="T0" y="T1"/>
                  </a:cxn>
                  <a:cxn ang="T11">
                    <a:pos x="T2" y="T3"/>
                  </a:cxn>
                  <a:cxn ang="T12">
                    <a:pos x="T4" y="T5"/>
                  </a:cxn>
                  <a:cxn ang="T13">
                    <a:pos x="T6" y="T7"/>
                  </a:cxn>
                  <a:cxn ang="T14">
                    <a:pos x="T8" y="T9"/>
                  </a:cxn>
                </a:cxnLst>
                <a:rect l="T15" t="T16" r="T17" b="T18"/>
                <a:pathLst>
                  <a:path w="482" h="504">
                    <a:moveTo>
                      <a:pt x="226" y="0"/>
                    </a:moveTo>
                    <a:lnTo>
                      <a:pt x="482" y="34"/>
                    </a:lnTo>
                    <a:lnTo>
                      <a:pt x="244" y="504"/>
                    </a:lnTo>
                    <a:lnTo>
                      <a:pt x="0" y="498"/>
                    </a:lnTo>
                    <a:lnTo>
                      <a:pt x="226" y="0"/>
                    </a:lnTo>
                    <a:close/>
                  </a:path>
                </a:pathLst>
              </a:custGeom>
              <a:noFill/>
              <a:ln w="3175">
                <a:solidFill>
                  <a:srgbClr val="000000"/>
                </a:solidFill>
                <a:round/>
                <a:headEnd/>
                <a:tailEnd/>
              </a:ln>
            </p:spPr>
            <p:txBody>
              <a:bodyPr/>
              <a:lstStyle/>
              <a:p>
                <a:endParaRPr lang="ja-JP" altLang="en-US" sz="1600" b="1">
                  <a:latin typeface="Times New Roman" charset="0"/>
                  <a:cs typeface="Times New Roman" charset="0"/>
                </a:endParaRPr>
              </a:p>
            </p:txBody>
          </p:sp>
          <p:sp>
            <p:nvSpPr>
              <p:cNvPr id="46231" name="Freeform 45"/>
              <p:cNvSpPr>
                <a:spLocks/>
              </p:cNvSpPr>
              <p:nvPr/>
            </p:nvSpPr>
            <p:spPr bwMode="auto">
              <a:xfrm>
                <a:off x="3913" y="1439"/>
                <a:ext cx="89" cy="105"/>
              </a:xfrm>
              <a:custGeom>
                <a:avLst/>
                <a:gdLst>
                  <a:gd name="T0" fmla="*/ 0 w 445"/>
                  <a:gd name="T1" fmla="*/ 0 h 527"/>
                  <a:gd name="T2" fmla="*/ 0 w 445"/>
                  <a:gd name="T3" fmla="*/ 0 h 527"/>
                  <a:gd name="T4" fmla="*/ 0 w 445"/>
                  <a:gd name="T5" fmla="*/ 0 h 527"/>
                  <a:gd name="T6" fmla="*/ 0 w 445"/>
                  <a:gd name="T7" fmla="*/ 0 h 527"/>
                  <a:gd name="T8" fmla="*/ 0 w 445"/>
                  <a:gd name="T9" fmla="*/ 0 h 527"/>
                  <a:gd name="T10" fmla="*/ 0 60000 65536"/>
                  <a:gd name="T11" fmla="*/ 0 60000 65536"/>
                  <a:gd name="T12" fmla="*/ 0 60000 65536"/>
                  <a:gd name="T13" fmla="*/ 0 60000 65536"/>
                  <a:gd name="T14" fmla="*/ 0 60000 65536"/>
                  <a:gd name="T15" fmla="*/ 0 w 445"/>
                  <a:gd name="T16" fmla="*/ 0 h 527"/>
                  <a:gd name="T17" fmla="*/ 445 w 445"/>
                  <a:gd name="T18" fmla="*/ 527 h 527"/>
                </a:gdLst>
                <a:ahLst/>
                <a:cxnLst>
                  <a:cxn ang="T10">
                    <a:pos x="T0" y="T1"/>
                  </a:cxn>
                  <a:cxn ang="T11">
                    <a:pos x="T2" y="T3"/>
                  </a:cxn>
                  <a:cxn ang="T12">
                    <a:pos x="T4" y="T5"/>
                  </a:cxn>
                  <a:cxn ang="T13">
                    <a:pos x="T6" y="T7"/>
                  </a:cxn>
                  <a:cxn ang="T14">
                    <a:pos x="T8" y="T9"/>
                  </a:cxn>
                </a:cxnLst>
                <a:rect l="T15" t="T16" r="T17" b="T18"/>
                <a:pathLst>
                  <a:path w="445" h="527">
                    <a:moveTo>
                      <a:pt x="231" y="63"/>
                    </a:moveTo>
                    <a:lnTo>
                      <a:pt x="445" y="0"/>
                    </a:lnTo>
                    <a:lnTo>
                      <a:pt x="220" y="446"/>
                    </a:lnTo>
                    <a:lnTo>
                      <a:pt x="0" y="527"/>
                    </a:lnTo>
                    <a:lnTo>
                      <a:pt x="231" y="63"/>
                    </a:lnTo>
                    <a:close/>
                  </a:path>
                </a:pathLst>
              </a:custGeom>
              <a:solidFill>
                <a:srgbClr val="7F7F9F"/>
              </a:solidFill>
              <a:ln w="9525">
                <a:noFill/>
                <a:round/>
                <a:headEnd/>
                <a:tailEnd/>
              </a:ln>
            </p:spPr>
            <p:txBody>
              <a:bodyPr/>
              <a:lstStyle/>
              <a:p>
                <a:endParaRPr lang="ja-JP" altLang="en-US" sz="1600" b="1">
                  <a:latin typeface="Times New Roman" charset="0"/>
                  <a:cs typeface="Times New Roman" charset="0"/>
                </a:endParaRPr>
              </a:p>
            </p:txBody>
          </p:sp>
          <p:sp>
            <p:nvSpPr>
              <p:cNvPr id="46232" name="Freeform 46"/>
              <p:cNvSpPr>
                <a:spLocks/>
              </p:cNvSpPr>
              <p:nvPr/>
            </p:nvSpPr>
            <p:spPr bwMode="auto">
              <a:xfrm>
                <a:off x="3913" y="1439"/>
                <a:ext cx="89" cy="105"/>
              </a:xfrm>
              <a:custGeom>
                <a:avLst/>
                <a:gdLst>
                  <a:gd name="T0" fmla="*/ 0 w 445"/>
                  <a:gd name="T1" fmla="*/ 0 h 527"/>
                  <a:gd name="T2" fmla="*/ 0 w 445"/>
                  <a:gd name="T3" fmla="*/ 0 h 527"/>
                  <a:gd name="T4" fmla="*/ 0 w 445"/>
                  <a:gd name="T5" fmla="*/ 0 h 527"/>
                  <a:gd name="T6" fmla="*/ 0 w 445"/>
                  <a:gd name="T7" fmla="*/ 0 h 527"/>
                  <a:gd name="T8" fmla="*/ 0 w 445"/>
                  <a:gd name="T9" fmla="*/ 0 h 527"/>
                  <a:gd name="T10" fmla="*/ 0 60000 65536"/>
                  <a:gd name="T11" fmla="*/ 0 60000 65536"/>
                  <a:gd name="T12" fmla="*/ 0 60000 65536"/>
                  <a:gd name="T13" fmla="*/ 0 60000 65536"/>
                  <a:gd name="T14" fmla="*/ 0 60000 65536"/>
                  <a:gd name="T15" fmla="*/ 0 w 445"/>
                  <a:gd name="T16" fmla="*/ 0 h 527"/>
                  <a:gd name="T17" fmla="*/ 445 w 445"/>
                  <a:gd name="T18" fmla="*/ 527 h 527"/>
                </a:gdLst>
                <a:ahLst/>
                <a:cxnLst>
                  <a:cxn ang="T10">
                    <a:pos x="T0" y="T1"/>
                  </a:cxn>
                  <a:cxn ang="T11">
                    <a:pos x="T2" y="T3"/>
                  </a:cxn>
                  <a:cxn ang="T12">
                    <a:pos x="T4" y="T5"/>
                  </a:cxn>
                  <a:cxn ang="T13">
                    <a:pos x="T6" y="T7"/>
                  </a:cxn>
                  <a:cxn ang="T14">
                    <a:pos x="T8" y="T9"/>
                  </a:cxn>
                </a:cxnLst>
                <a:rect l="T15" t="T16" r="T17" b="T18"/>
                <a:pathLst>
                  <a:path w="445" h="527">
                    <a:moveTo>
                      <a:pt x="231" y="63"/>
                    </a:moveTo>
                    <a:lnTo>
                      <a:pt x="445" y="0"/>
                    </a:lnTo>
                    <a:lnTo>
                      <a:pt x="220" y="446"/>
                    </a:lnTo>
                    <a:lnTo>
                      <a:pt x="0" y="527"/>
                    </a:lnTo>
                    <a:lnTo>
                      <a:pt x="231" y="63"/>
                    </a:lnTo>
                    <a:close/>
                  </a:path>
                </a:pathLst>
              </a:custGeom>
              <a:noFill/>
              <a:ln w="3175">
                <a:solidFill>
                  <a:srgbClr val="000000"/>
                </a:solidFill>
                <a:round/>
                <a:headEnd/>
                <a:tailEnd/>
              </a:ln>
            </p:spPr>
            <p:txBody>
              <a:bodyPr/>
              <a:lstStyle/>
              <a:p>
                <a:endParaRPr lang="ja-JP" altLang="en-US" sz="1600" b="1">
                  <a:latin typeface="Times New Roman" charset="0"/>
                  <a:cs typeface="Times New Roman" charset="0"/>
                </a:endParaRPr>
              </a:p>
            </p:txBody>
          </p:sp>
          <p:sp>
            <p:nvSpPr>
              <p:cNvPr id="46233" name="Freeform 47"/>
              <p:cNvSpPr>
                <a:spLocks/>
              </p:cNvSpPr>
              <p:nvPr/>
            </p:nvSpPr>
            <p:spPr bwMode="auto">
              <a:xfrm>
                <a:off x="3835" y="1320"/>
                <a:ext cx="183" cy="131"/>
              </a:xfrm>
              <a:custGeom>
                <a:avLst/>
                <a:gdLst>
                  <a:gd name="T0" fmla="*/ 0 w 914"/>
                  <a:gd name="T1" fmla="*/ 0 h 653"/>
                  <a:gd name="T2" fmla="*/ 0 w 914"/>
                  <a:gd name="T3" fmla="*/ 0 h 653"/>
                  <a:gd name="T4" fmla="*/ 0 w 914"/>
                  <a:gd name="T5" fmla="*/ 0 h 653"/>
                  <a:gd name="T6" fmla="*/ 0 w 914"/>
                  <a:gd name="T7" fmla="*/ 0 h 653"/>
                  <a:gd name="T8" fmla="*/ 0 w 914"/>
                  <a:gd name="T9" fmla="*/ 0 h 653"/>
                  <a:gd name="T10" fmla="*/ 0 w 914"/>
                  <a:gd name="T11" fmla="*/ 0 h 653"/>
                  <a:gd name="T12" fmla="*/ 0 w 914"/>
                  <a:gd name="T13" fmla="*/ 0 h 653"/>
                  <a:gd name="T14" fmla="*/ 0 w 914"/>
                  <a:gd name="T15" fmla="*/ 0 h 653"/>
                  <a:gd name="T16" fmla="*/ 0 w 914"/>
                  <a:gd name="T17" fmla="*/ 0 h 653"/>
                  <a:gd name="T18" fmla="*/ 0 w 914"/>
                  <a:gd name="T19" fmla="*/ 0 h 653"/>
                  <a:gd name="T20" fmla="*/ 0 w 914"/>
                  <a:gd name="T21" fmla="*/ 0 h 653"/>
                  <a:gd name="T22" fmla="*/ 0 w 914"/>
                  <a:gd name="T23" fmla="*/ 0 h 653"/>
                  <a:gd name="T24" fmla="*/ 0 w 914"/>
                  <a:gd name="T25" fmla="*/ 0 h 65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914"/>
                  <a:gd name="T40" fmla="*/ 0 h 653"/>
                  <a:gd name="T41" fmla="*/ 914 w 914"/>
                  <a:gd name="T42" fmla="*/ 653 h 653"/>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914" h="653">
                    <a:moveTo>
                      <a:pt x="0" y="182"/>
                    </a:moveTo>
                    <a:lnTo>
                      <a:pt x="8" y="379"/>
                    </a:lnTo>
                    <a:lnTo>
                      <a:pt x="168" y="514"/>
                    </a:lnTo>
                    <a:lnTo>
                      <a:pt x="382" y="611"/>
                    </a:lnTo>
                    <a:lnTo>
                      <a:pt x="628" y="653"/>
                    </a:lnTo>
                    <a:lnTo>
                      <a:pt x="833" y="599"/>
                    </a:lnTo>
                    <a:lnTo>
                      <a:pt x="914" y="420"/>
                    </a:lnTo>
                    <a:lnTo>
                      <a:pt x="857" y="259"/>
                    </a:lnTo>
                    <a:lnTo>
                      <a:pt x="722" y="132"/>
                    </a:lnTo>
                    <a:lnTo>
                      <a:pt x="522" y="33"/>
                    </a:lnTo>
                    <a:lnTo>
                      <a:pt x="297" y="0"/>
                    </a:lnTo>
                    <a:lnTo>
                      <a:pt x="113" y="45"/>
                    </a:lnTo>
                    <a:lnTo>
                      <a:pt x="0" y="182"/>
                    </a:lnTo>
                    <a:close/>
                  </a:path>
                </a:pathLst>
              </a:custGeom>
              <a:solidFill>
                <a:srgbClr val="DFDFFF"/>
              </a:solidFill>
              <a:ln w="9525">
                <a:noFill/>
                <a:round/>
                <a:headEnd/>
                <a:tailEnd/>
              </a:ln>
            </p:spPr>
            <p:txBody>
              <a:bodyPr/>
              <a:lstStyle/>
              <a:p>
                <a:endParaRPr lang="ja-JP" altLang="en-US" sz="1600" b="1">
                  <a:latin typeface="Times New Roman" charset="0"/>
                  <a:cs typeface="Times New Roman" charset="0"/>
                </a:endParaRPr>
              </a:p>
            </p:txBody>
          </p:sp>
          <p:sp>
            <p:nvSpPr>
              <p:cNvPr id="46234" name="Freeform 48"/>
              <p:cNvSpPr>
                <a:spLocks/>
              </p:cNvSpPr>
              <p:nvPr/>
            </p:nvSpPr>
            <p:spPr bwMode="auto">
              <a:xfrm>
                <a:off x="3835" y="1320"/>
                <a:ext cx="183" cy="131"/>
              </a:xfrm>
              <a:custGeom>
                <a:avLst/>
                <a:gdLst>
                  <a:gd name="T0" fmla="*/ 0 w 914"/>
                  <a:gd name="T1" fmla="*/ 0 h 653"/>
                  <a:gd name="T2" fmla="*/ 0 w 914"/>
                  <a:gd name="T3" fmla="*/ 0 h 653"/>
                  <a:gd name="T4" fmla="*/ 0 w 914"/>
                  <a:gd name="T5" fmla="*/ 0 h 653"/>
                  <a:gd name="T6" fmla="*/ 0 w 914"/>
                  <a:gd name="T7" fmla="*/ 0 h 653"/>
                  <a:gd name="T8" fmla="*/ 0 w 914"/>
                  <a:gd name="T9" fmla="*/ 0 h 653"/>
                  <a:gd name="T10" fmla="*/ 0 w 914"/>
                  <a:gd name="T11" fmla="*/ 0 h 653"/>
                  <a:gd name="T12" fmla="*/ 0 w 914"/>
                  <a:gd name="T13" fmla="*/ 0 h 653"/>
                  <a:gd name="T14" fmla="*/ 0 w 914"/>
                  <a:gd name="T15" fmla="*/ 0 h 653"/>
                  <a:gd name="T16" fmla="*/ 0 w 914"/>
                  <a:gd name="T17" fmla="*/ 0 h 653"/>
                  <a:gd name="T18" fmla="*/ 0 w 914"/>
                  <a:gd name="T19" fmla="*/ 0 h 653"/>
                  <a:gd name="T20" fmla="*/ 0 w 914"/>
                  <a:gd name="T21" fmla="*/ 0 h 653"/>
                  <a:gd name="T22" fmla="*/ 0 w 914"/>
                  <a:gd name="T23" fmla="*/ 0 h 653"/>
                  <a:gd name="T24" fmla="*/ 0 w 914"/>
                  <a:gd name="T25" fmla="*/ 0 h 65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914"/>
                  <a:gd name="T40" fmla="*/ 0 h 653"/>
                  <a:gd name="T41" fmla="*/ 914 w 914"/>
                  <a:gd name="T42" fmla="*/ 653 h 653"/>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914" h="653">
                    <a:moveTo>
                      <a:pt x="0" y="182"/>
                    </a:moveTo>
                    <a:lnTo>
                      <a:pt x="8" y="379"/>
                    </a:lnTo>
                    <a:lnTo>
                      <a:pt x="168" y="514"/>
                    </a:lnTo>
                    <a:lnTo>
                      <a:pt x="382" y="611"/>
                    </a:lnTo>
                    <a:lnTo>
                      <a:pt x="628" y="653"/>
                    </a:lnTo>
                    <a:lnTo>
                      <a:pt x="833" y="599"/>
                    </a:lnTo>
                    <a:lnTo>
                      <a:pt x="914" y="420"/>
                    </a:lnTo>
                    <a:lnTo>
                      <a:pt x="857" y="259"/>
                    </a:lnTo>
                    <a:lnTo>
                      <a:pt x="722" y="132"/>
                    </a:lnTo>
                    <a:lnTo>
                      <a:pt x="522" y="33"/>
                    </a:lnTo>
                    <a:lnTo>
                      <a:pt x="297" y="0"/>
                    </a:lnTo>
                    <a:lnTo>
                      <a:pt x="113" y="45"/>
                    </a:lnTo>
                    <a:lnTo>
                      <a:pt x="0" y="182"/>
                    </a:lnTo>
                    <a:close/>
                  </a:path>
                </a:pathLst>
              </a:custGeom>
              <a:noFill/>
              <a:ln w="3175">
                <a:solidFill>
                  <a:srgbClr val="000000"/>
                </a:solidFill>
                <a:round/>
                <a:headEnd/>
                <a:tailEnd/>
              </a:ln>
            </p:spPr>
            <p:txBody>
              <a:bodyPr/>
              <a:lstStyle/>
              <a:p>
                <a:endParaRPr lang="ja-JP" altLang="en-US" sz="1600" b="1">
                  <a:latin typeface="Times New Roman" charset="0"/>
                  <a:cs typeface="Times New Roman" charset="0"/>
                </a:endParaRPr>
              </a:p>
            </p:txBody>
          </p:sp>
          <p:sp>
            <p:nvSpPr>
              <p:cNvPr id="46235" name="Line 49"/>
              <p:cNvSpPr>
                <a:spLocks noChangeShapeType="1"/>
              </p:cNvSpPr>
              <p:nvPr/>
            </p:nvSpPr>
            <p:spPr bwMode="auto">
              <a:xfrm>
                <a:off x="3834" y="1358"/>
                <a:ext cx="74" cy="14"/>
              </a:xfrm>
              <a:prstGeom prst="line">
                <a:avLst/>
              </a:prstGeom>
              <a:noFill/>
              <a:ln w="3175">
                <a:solidFill>
                  <a:srgbClr val="000000"/>
                </a:solidFill>
                <a:round/>
                <a:headEnd/>
                <a:tailEnd/>
              </a:ln>
            </p:spPr>
            <p:txBody>
              <a:bodyPr/>
              <a:lstStyle/>
              <a:p>
                <a:endParaRPr lang="en-US" sz="1600" b="1"/>
              </a:p>
            </p:txBody>
          </p:sp>
          <p:sp>
            <p:nvSpPr>
              <p:cNvPr id="46236" name="Line 50"/>
              <p:cNvSpPr>
                <a:spLocks noChangeShapeType="1"/>
              </p:cNvSpPr>
              <p:nvPr/>
            </p:nvSpPr>
            <p:spPr bwMode="auto">
              <a:xfrm>
                <a:off x="3859" y="1331"/>
                <a:ext cx="52" cy="33"/>
              </a:xfrm>
              <a:prstGeom prst="line">
                <a:avLst/>
              </a:prstGeom>
              <a:noFill/>
              <a:ln w="4763">
                <a:solidFill>
                  <a:srgbClr val="000000"/>
                </a:solidFill>
                <a:round/>
                <a:headEnd/>
                <a:tailEnd/>
              </a:ln>
            </p:spPr>
            <p:txBody>
              <a:bodyPr/>
              <a:lstStyle/>
              <a:p>
                <a:endParaRPr lang="en-US" sz="1600" b="1"/>
              </a:p>
            </p:txBody>
          </p:sp>
          <p:sp>
            <p:nvSpPr>
              <p:cNvPr id="46237" name="Line 51"/>
              <p:cNvSpPr>
                <a:spLocks noChangeShapeType="1"/>
              </p:cNvSpPr>
              <p:nvPr/>
            </p:nvSpPr>
            <p:spPr bwMode="auto">
              <a:xfrm>
                <a:off x="3895" y="1322"/>
                <a:ext cx="31" cy="39"/>
              </a:xfrm>
              <a:prstGeom prst="line">
                <a:avLst/>
              </a:prstGeom>
              <a:noFill/>
              <a:ln w="4763">
                <a:solidFill>
                  <a:srgbClr val="000000"/>
                </a:solidFill>
                <a:round/>
                <a:headEnd/>
                <a:tailEnd/>
              </a:ln>
            </p:spPr>
            <p:txBody>
              <a:bodyPr/>
              <a:lstStyle/>
              <a:p>
                <a:endParaRPr lang="en-US" sz="1600" b="1"/>
              </a:p>
            </p:txBody>
          </p:sp>
          <p:sp>
            <p:nvSpPr>
              <p:cNvPr id="46238" name="Line 52"/>
              <p:cNvSpPr>
                <a:spLocks noChangeShapeType="1"/>
              </p:cNvSpPr>
              <p:nvPr/>
            </p:nvSpPr>
            <p:spPr bwMode="auto">
              <a:xfrm flipH="1">
                <a:off x="3937" y="1327"/>
                <a:ext cx="4" cy="38"/>
              </a:xfrm>
              <a:prstGeom prst="line">
                <a:avLst/>
              </a:prstGeom>
              <a:noFill/>
              <a:ln w="3175">
                <a:solidFill>
                  <a:srgbClr val="000000"/>
                </a:solidFill>
                <a:round/>
                <a:headEnd/>
                <a:tailEnd/>
              </a:ln>
            </p:spPr>
            <p:txBody>
              <a:bodyPr/>
              <a:lstStyle/>
              <a:p>
                <a:endParaRPr lang="en-US" sz="1600" b="1"/>
              </a:p>
            </p:txBody>
          </p:sp>
          <p:sp>
            <p:nvSpPr>
              <p:cNvPr id="46239" name="Line 53"/>
              <p:cNvSpPr>
                <a:spLocks noChangeShapeType="1"/>
              </p:cNvSpPr>
              <p:nvPr/>
            </p:nvSpPr>
            <p:spPr bwMode="auto">
              <a:xfrm flipH="1">
                <a:off x="3950" y="1347"/>
                <a:ext cx="29" cy="21"/>
              </a:xfrm>
              <a:prstGeom prst="line">
                <a:avLst/>
              </a:prstGeom>
              <a:noFill/>
              <a:ln w="4763">
                <a:solidFill>
                  <a:srgbClr val="000000"/>
                </a:solidFill>
                <a:round/>
                <a:headEnd/>
                <a:tailEnd/>
              </a:ln>
            </p:spPr>
            <p:txBody>
              <a:bodyPr/>
              <a:lstStyle/>
              <a:p>
                <a:endParaRPr lang="en-US" sz="1600" b="1"/>
              </a:p>
            </p:txBody>
          </p:sp>
          <p:sp>
            <p:nvSpPr>
              <p:cNvPr id="46240" name="Line 54"/>
              <p:cNvSpPr>
                <a:spLocks noChangeShapeType="1"/>
              </p:cNvSpPr>
              <p:nvPr/>
            </p:nvSpPr>
            <p:spPr bwMode="auto">
              <a:xfrm flipH="1">
                <a:off x="3956" y="1373"/>
                <a:ext cx="49" cy="2"/>
              </a:xfrm>
              <a:prstGeom prst="line">
                <a:avLst/>
              </a:prstGeom>
              <a:noFill/>
              <a:ln w="3175">
                <a:solidFill>
                  <a:srgbClr val="000000"/>
                </a:solidFill>
                <a:round/>
                <a:headEnd/>
                <a:tailEnd/>
              </a:ln>
            </p:spPr>
            <p:txBody>
              <a:bodyPr/>
              <a:lstStyle/>
              <a:p>
                <a:endParaRPr lang="en-US" sz="1600" b="1"/>
              </a:p>
            </p:txBody>
          </p:sp>
          <p:sp>
            <p:nvSpPr>
              <p:cNvPr id="46241" name="Line 55"/>
              <p:cNvSpPr>
                <a:spLocks noChangeShapeType="1"/>
              </p:cNvSpPr>
              <p:nvPr/>
            </p:nvSpPr>
            <p:spPr bwMode="auto">
              <a:xfrm>
                <a:off x="3957" y="1385"/>
                <a:ext cx="60" cy="20"/>
              </a:xfrm>
              <a:prstGeom prst="line">
                <a:avLst/>
              </a:prstGeom>
              <a:noFill/>
              <a:ln w="3175">
                <a:solidFill>
                  <a:srgbClr val="000000"/>
                </a:solidFill>
                <a:round/>
                <a:headEnd/>
                <a:tailEnd/>
              </a:ln>
            </p:spPr>
            <p:txBody>
              <a:bodyPr/>
              <a:lstStyle/>
              <a:p>
                <a:endParaRPr lang="en-US" sz="1600" b="1"/>
              </a:p>
            </p:txBody>
          </p:sp>
          <p:sp>
            <p:nvSpPr>
              <p:cNvPr id="46242" name="Line 56"/>
              <p:cNvSpPr>
                <a:spLocks noChangeShapeType="1"/>
              </p:cNvSpPr>
              <p:nvPr/>
            </p:nvSpPr>
            <p:spPr bwMode="auto">
              <a:xfrm>
                <a:off x="3952" y="1391"/>
                <a:ext cx="51" cy="49"/>
              </a:xfrm>
              <a:prstGeom prst="line">
                <a:avLst/>
              </a:prstGeom>
              <a:noFill/>
              <a:ln w="4763">
                <a:solidFill>
                  <a:srgbClr val="000000"/>
                </a:solidFill>
                <a:round/>
                <a:headEnd/>
                <a:tailEnd/>
              </a:ln>
            </p:spPr>
            <p:txBody>
              <a:bodyPr/>
              <a:lstStyle/>
              <a:p>
                <a:endParaRPr lang="en-US" sz="1600" b="1"/>
              </a:p>
            </p:txBody>
          </p:sp>
          <p:sp>
            <p:nvSpPr>
              <p:cNvPr id="46243" name="Line 57"/>
              <p:cNvSpPr>
                <a:spLocks noChangeShapeType="1"/>
              </p:cNvSpPr>
              <p:nvPr/>
            </p:nvSpPr>
            <p:spPr bwMode="auto">
              <a:xfrm>
                <a:off x="3943" y="1397"/>
                <a:ext cx="17" cy="54"/>
              </a:xfrm>
              <a:prstGeom prst="line">
                <a:avLst/>
              </a:prstGeom>
              <a:noFill/>
              <a:ln w="3175">
                <a:solidFill>
                  <a:srgbClr val="000000"/>
                </a:solidFill>
                <a:round/>
                <a:headEnd/>
                <a:tailEnd/>
              </a:ln>
            </p:spPr>
            <p:txBody>
              <a:bodyPr/>
              <a:lstStyle/>
              <a:p>
                <a:endParaRPr lang="en-US" sz="1600" b="1"/>
              </a:p>
            </p:txBody>
          </p:sp>
          <p:sp>
            <p:nvSpPr>
              <p:cNvPr id="46244" name="Line 58"/>
              <p:cNvSpPr>
                <a:spLocks noChangeShapeType="1"/>
              </p:cNvSpPr>
              <p:nvPr/>
            </p:nvSpPr>
            <p:spPr bwMode="auto">
              <a:xfrm flipH="1">
                <a:off x="3911" y="1395"/>
                <a:ext cx="17" cy="46"/>
              </a:xfrm>
              <a:prstGeom prst="line">
                <a:avLst/>
              </a:prstGeom>
              <a:noFill/>
              <a:ln w="3175">
                <a:solidFill>
                  <a:srgbClr val="000000"/>
                </a:solidFill>
                <a:round/>
                <a:headEnd/>
                <a:tailEnd/>
              </a:ln>
            </p:spPr>
            <p:txBody>
              <a:bodyPr/>
              <a:lstStyle/>
              <a:p>
                <a:endParaRPr lang="en-US" sz="1600" b="1"/>
              </a:p>
            </p:txBody>
          </p:sp>
          <p:sp>
            <p:nvSpPr>
              <p:cNvPr id="46245" name="Line 59"/>
              <p:cNvSpPr>
                <a:spLocks noChangeShapeType="1"/>
              </p:cNvSpPr>
              <p:nvPr/>
            </p:nvSpPr>
            <p:spPr bwMode="auto">
              <a:xfrm flipV="1">
                <a:off x="3868" y="1390"/>
                <a:ext cx="43" cy="32"/>
              </a:xfrm>
              <a:prstGeom prst="line">
                <a:avLst/>
              </a:prstGeom>
              <a:noFill/>
              <a:ln w="4763">
                <a:solidFill>
                  <a:srgbClr val="000000"/>
                </a:solidFill>
                <a:round/>
                <a:headEnd/>
                <a:tailEnd/>
              </a:ln>
            </p:spPr>
            <p:txBody>
              <a:bodyPr/>
              <a:lstStyle/>
              <a:p>
                <a:endParaRPr lang="en-US" sz="1600" b="1"/>
              </a:p>
            </p:txBody>
          </p:sp>
          <p:sp>
            <p:nvSpPr>
              <p:cNvPr id="46246" name="Line 60"/>
              <p:cNvSpPr>
                <a:spLocks noChangeShapeType="1"/>
              </p:cNvSpPr>
              <p:nvPr/>
            </p:nvSpPr>
            <p:spPr bwMode="auto">
              <a:xfrm flipV="1">
                <a:off x="3837" y="1379"/>
                <a:ext cx="71" cy="16"/>
              </a:xfrm>
              <a:prstGeom prst="line">
                <a:avLst/>
              </a:prstGeom>
              <a:noFill/>
              <a:ln w="3175">
                <a:solidFill>
                  <a:srgbClr val="000000"/>
                </a:solidFill>
                <a:round/>
                <a:headEnd/>
                <a:tailEnd/>
              </a:ln>
            </p:spPr>
            <p:txBody>
              <a:bodyPr/>
              <a:lstStyle/>
              <a:p>
                <a:endParaRPr lang="en-US" sz="1600" b="1"/>
              </a:p>
            </p:txBody>
          </p:sp>
          <p:sp>
            <p:nvSpPr>
              <p:cNvPr id="46247" name="Freeform 61"/>
              <p:cNvSpPr>
                <a:spLocks/>
              </p:cNvSpPr>
              <p:nvPr/>
            </p:nvSpPr>
            <p:spPr bwMode="auto">
              <a:xfrm>
                <a:off x="3905" y="1359"/>
                <a:ext cx="53" cy="38"/>
              </a:xfrm>
              <a:custGeom>
                <a:avLst/>
                <a:gdLst>
                  <a:gd name="T0" fmla="*/ 0 w 267"/>
                  <a:gd name="T1" fmla="*/ 0 h 187"/>
                  <a:gd name="T2" fmla="*/ 0 w 267"/>
                  <a:gd name="T3" fmla="*/ 0 h 187"/>
                  <a:gd name="T4" fmla="*/ 0 w 267"/>
                  <a:gd name="T5" fmla="*/ 0 h 187"/>
                  <a:gd name="T6" fmla="*/ 0 w 267"/>
                  <a:gd name="T7" fmla="*/ 0 h 187"/>
                  <a:gd name="T8" fmla="*/ 0 w 267"/>
                  <a:gd name="T9" fmla="*/ 0 h 187"/>
                  <a:gd name="T10" fmla="*/ 0 w 267"/>
                  <a:gd name="T11" fmla="*/ 0 h 187"/>
                  <a:gd name="T12" fmla="*/ 0 w 267"/>
                  <a:gd name="T13" fmla="*/ 0 h 187"/>
                  <a:gd name="T14" fmla="*/ 0 w 267"/>
                  <a:gd name="T15" fmla="*/ 0 h 187"/>
                  <a:gd name="T16" fmla="*/ 0 w 267"/>
                  <a:gd name="T17" fmla="*/ 0 h 187"/>
                  <a:gd name="T18" fmla="*/ 0 w 267"/>
                  <a:gd name="T19" fmla="*/ 0 h 187"/>
                  <a:gd name="T20" fmla="*/ 0 w 267"/>
                  <a:gd name="T21" fmla="*/ 0 h 187"/>
                  <a:gd name="T22" fmla="*/ 0 w 267"/>
                  <a:gd name="T23" fmla="*/ 0 h 187"/>
                  <a:gd name="T24" fmla="*/ 0 w 267"/>
                  <a:gd name="T25" fmla="*/ 0 h 187"/>
                  <a:gd name="T26" fmla="*/ 0 w 267"/>
                  <a:gd name="T27" fmla="*/ 0 h 187"/>
                  <a:gd name="T28" fmla="*/ 0 w 267"/>
                  <a:gd name="T29" fmla="*/ 0 h 187"/>
                  <a:gd name="T30" fmla="*/ 0 w 267"/>
                  <a:gd name="T31" fmla="*/ 0 h 187"/>
                  <a:gd name="T32" fmla="*/ 0 w 267"/>
                  <a:gd name="T33" fmla="*/ 0 h 187"/>
                  <a:gd name="T34" fmla="*/ 0 w 267"/>
                  <a:gd name="T35" fmla="*/ 0 h 187"/>
                  <a:gd name="T36" fmla="*/ 0 w 267"/>
                  <a:gd name="T37" fmla="*/ 0 h 187"/>
                  <a:gd name="T38" fmla="*/ 0 w 267"/>
                  <a:gd name="T39" fmla="*/ 0 h 187"/>
                  <a:gd name="T40" fmla="*/ 0 w 267"/>
                  <a:gd name="T41" fmla="*/ 0 h 187"/>
                  <a:gd name="T42" fmla="*/ 0 w 267"/>
                  <a:gd name="T43" fmla="*/ 0 h 187"/>
                  <a:gd name="T44" fmla="*/ 0 w 267"/>
                  <a:gd name="T45" fmla="*/ 0 h 187"/>
                  <a:gd name="T46" fmla="*/ 0 w 267"/>
                  <a:gd name="T47" fmla="*/ 0 h 187"/>
                  <a:gd name="T48" fmla="*/ 0 w 267"/>
                  <a:gd name="T49" fmla="*/ 0 h 187"/>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267"/>
                  <a:gd name="T76" fmla="*/ 0 h 187"/>
                  <a:gd name="T77" fmla="*/ 267 w 267"/>
                  <a:gd name="T78" fmla="*/ 187 h 187"/>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267" h="187">
                    <a:moveTo>
                      <a:pt x="96" y="0"/>
                    </a:moveTo>
                    <a:lnTo>
                      <a:pt x="68" y="0"/>
                    </a:lnTo>
                    <a:lnTo>
                      <a:pt x="37" y="12"/>
                    </a:lnTo>
                    <a:lnTo>
                      <a:pt x="14" y="33"/>
                    </a:lnTo>
                    <a:lnTo>
                      <a:pt x="1" y="57"/>
                    </a:lnTo>
                    <a:lnTo>
                      <a:pt x="0" y="83"/>
                    </a:lnTo>
                    <a:lnTo>
                      <a:pt x="8" y="111"/>
                    </a:lnTo>
                    <a:lnTo>
                      <a:pt x="31" y="140"/>
                    </a:lnTo>
                    <a:lnTo>
                      <a:pt x="62" y="159"/>
                    </a:lnTo>
                    <a:lnTo>
                      <a:pt x="83" y="170"/>
                    </a:lnTo>
                    <a:lnTo>
                      <a:pt x="120" y="180"/>
                    </a:lnTo>
                    <a:lnTo>
                      <a:pt x="140" y="184"/>
                    </a:lnTo>
                    <a:lnTo>
                      <a:pt x="174" y="187"/>
                    </a:lnTo>
                    <a:lnTo>
                      <a:pt x="202" y="184"/>
                    </a:lnTo>
                    <a:lnTo>
                      <a:pt x="227" y="178"/>
                    </a:lnTo>
                    <a:lnTo>
                      <a:pt x="248" y="163"/>
                    </a:lnTo>
                    <a:lnTo>
                      <a:pt x="262" y="140"/>
                    </a:lnTo>
                    <a:lnTo>
                      <a:pt x="267" y="107"/>
                    </a:lnTo>
                    <a:lnTo>
                      <a:pt x="262" y="85"/>
                    </a:lnTo>
                    <a:lnTo>
                      <a:pt x="244" y="62"/>
                    </a:lnTo>
                    <a:lnTo>
                      <a:pt x="220" y="38"/>
                    </a:lnTo>
                    <a:lnTo>
                      <a:pt x="194" y="26"/>
                    </a:lnTo>
                    <a:lnTo>
                      <a:pt x="160" y="10"/>
                    </a:lnTo>
                    <a:lnTo>
                      <a:pt x="122" y="3"/>
                    </a:lnTo>
                    <a:lnTo>
                      <a:pt x="96" y="0"/>
                    </a:lnTo>
                    <a:close/>
                  </a:path>
                </a:pathLst>
              </a:custGeom>
              <a:solidFill>
                <a:srgbClr val="9F9F9F"/>
              </a:solidFill>
              <a:ln w="9525">
                <a:noFill/>
                <a:round/>
                <a:headEnd/>
                <a:tailEnd/>
              </a:ln>
            </p:spPr>
            <p:txBody>
              <a:bodyPr/>
              <a:lstStyle/>
              <a:p>
                <a:endParaRPr lang="ja-JP" altLang="en-US" sz="1600" b="1">
                  <a:latin typeface="Times New Roman" charset="0"/>
                  <a:cs typeface="Times New Roman" charset="0"/>
                </a:endParaRPr>
              </a:p>
            </p:txBody>
          </p:sp>
          <p:sp>
            <p:nvSpPr>
              <p:cNvPr id="46248" name="Freeform 62"/>
              <p:cNvSpPr>
                <a:spLocks/>
              </p:cNvSpPr>
              <p:nvPr/>
            </p:nvSpPr>
            <p:spPr bwMode="auto">
              <a:xfrm>
                <a:off x="3905" y="1359"/>
                <a:ext cx="53" cy="38"/>
              </a:xfrm>
              <a:custGeom>
                <a:avLst/>
                <a:gdLst>
                  <a:gd name="T0" fmla="*/ 0 w 267"/>
                  <a:gd name="T1" fmla="*/ 0 h 187"/>
                  <a:gd name="T2" fmla="*/ 0 w 267"/>
                  <a:gd name="T3" fmla="*/ 0 h 187"/>
                  <a:gd name="T4" fmla="*/ 0 w 267"/>
                  <a:gd name="T5" fmla="*/ 0 h 187"/>
                  <a:gd name="T6" fmla="*/ 0 w 267"/>
                  <a:gd name="T7" fmla="*/ 0 h 187"/>
                  <a:gd name="T8" fmla="*/ 0 w 267"/>
                  <a:gd name="T9" fmla="*/ 0 h 187"/>
                  <a:gd name="T10" fmla="*/ 0 w 267"/>
                  <a:gd name="T11" fmla="*/ 0 h 187"/>
                  <a:gd name="T12" fmla="*/ 0 w 267"/>
                  <a:gd name="T13" fmla="*/ 0 h 187"/>
                  <a:gd name="T14" fmla="*/ 0 w 267"/>
                  <a:gd name="T15" fmla="*/ 0 h 187"/>
                  <a:gd name="T16" fmla="*/ 0 w 267"/>
                  <a:gd name="T17" fmla="*/ 0 h 187"/>
                  <a:gd name="T18" fmla="*/ 0 w 267"/>
                  <a:gd name="T19" fmla="*/ 0 h 187"/>
                  <a:gd name="T20" fmla="*/ 0 w 267"/>
                  <a:gd name="T21" fmla="*/ 0 h 187"/>
                  <a:gd name="T22" fmla="*/ 0 w 267"/>
                  <a:gd name="T23" fmla="*/ 0 h 187"/>
                  <a:gd name="T24" fmla="*/ 0 w 267"/>
                  <a:gd name="T25" fmla="*/ 0 h 187"/>
                  <a:gd name="T26" fmla="*/ 0 w 267"/>
                  <a:gd name="T27" fmla="*/ 0 h 187"/>
                  <a:gd name="T28" fmla="*/ 0 w 267"/>
                  <a:gd name="T29" fmla="*/ 0 h 187"/>
                  <a:gd name="T30" fmla="*/ 0 w 267"/>
                  <a:gd name="T31" fmla="*/ 0 h 187"/>
                  <a:gd name="T32" fmla="*/ 0 w 267"/>
                  <a:gd name="T33" fmla="*/ 0 h 187"/>
                  <a:gd name="T34" fmla="*/ 0 w 267"/>
                  <a:gd name="T35" fmla="*/ 0 h 187"/>
                  <a:gd name="T36" fmla="*/ 0 w 267"/>
                  <a:gd name="T37" fmla="*/ 0 h 187"/>
                  <a:gd name="T38" fmla="*/ 0 w 267"/>
                  <a:gd name="T39" fmla="*/ 0 h 187"/>
                  <a:gd name="T40" fmla="*/ 0 w 267"/>
                  <a:gd name="T41" fmla="*/ 0 h 187"/>
                  <a:gd name="T42" fmla="*/ 0 w 267"/>
                  <a:gd name="T43" fmla="*/ 0 h 187"/>
                  <a:gd name="T44" fmla="*/ 0 w 267"/>
                  <a:gd name="T45" fmla="*/ 0 h 187"/>
                  <a:gd name="T46" fmla="*/ 0 w 267"/>
                  <a:gd name="T47" fmla="*/ 0 h 187"/>
                  <a:gd name="T48" fmla="*/ 0 w 267"/>
                  <a:gd name="T49" fmla="*/ 0 h 187"/>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267"/>
                  <a:gd name="T76" fmla="*/ 0 h 187"/>
                  <a:gd name="T77" fmla="*/ 267 w 267"/>
                  <a:gd name="T78" fmla="*/ 187 h 187"/>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267" h="187">
                    <a:moveTo>
                      <a:pt x="96" y="0"/>
                    </a:moveTo>
                    <a:lnTo>
                      <a:pt x="68" y="0"/>
                    </a:lnTo>
                    <a:lnTo>
                      <a:pt x="37" y="12"/>
                    </a:lnTo>
                    <a:lnTo>
                      <a:pt x="14" y="33"/>
                    </a:lnTo>
                    <a:lnTo>
                      <a:pt x="1" y="57"/>
                    </a:lnTo>
                    <a:lnTo>
                      <a:pt x="0" y="83"/>
                    </a:lnTo>
                    <a:lnTo>
                      <a:pt x="8" y="111"/>
                    </a:lnTo>
                    <a:lnTo>
                      <a:pt x="31" y="140"/>
                    </a:lnTo>
                    <a:lnTo>
                      <a:pt x="62" y="159"/>
                    </a:lnTo>
                    <a:lnTo>
                      <a:pt x="83" y="170"/>
                    </a:lnTo>
                    <a:lnTo>
                      <a:pt x="120" y="180"/>
                    </a:lnTo>
                    <a:lnTo>
                      <a:pt x="140" y="184"/>
                    </a:lnTo>
                    <a:lnTo>
                      <a:pt x="174" y="187"/>
                    </a:lnTo>
                    <a:lnTo>
                      <a:pt x="202" y="184"/>
                    </a:lnTo>
                    <a:lnTo>
                      <a:pt x="227" y="178"/>
                    </a:lnTo>
                    <a:lnTo>
                      <a:pt x="248" y="163"/>
                    </a:lnTo>
                    <a:lnTo>
                      <a:pt x="262" y="140"/>
                    </a:lnTo>
                    <a:lnTo>
                      <a:pt x="267" y="107"/>
                    </a:lnTo>
                    <a:lnTo>
                      <a:pt x="262" y="85"/>
                    </a:lnTo>
                    <a:lnTo>
                      <a:pt x="244" y="62"/>
                    </a:lnTo>
                    <a:lnTo>
                      <a:pt x="220" y="38"/>
                    </a:lnTo>
                    <a:lnTo>
                      <a:pt x="194" y="26"/>
                    </a:lnTo>
                    <a:lnTo>
                      <a:pt x="160" y="10"/>
                    </a:lnTo>
                    <a:lnTo>
                      <a:pt x="122" y="3"/>
                    </a:lnTo>
                    <a:lnTo>
                      <a:pt x="96" y="0"/>
                    </a:lnTo>
                    <a:close/>
                  </a:path>
                </a:pathLst>
              </a:custGeom>
              <a:noFill/>
              <a:ln w="3175">
                <a:solidFill>
                  <a:srgbClr val="000000"/>
                </a:solidFill>
                <a:round/>
                <a:headEnd/>
                <a:tailEnd/>
              </a:ln>
            </p:spPr>
            <p:txBody>
              <a:bodyPr/>
              <a:lstStyle/>
              <a:p>
                <a:endParaRPr lang="ja-JP" altLang="en-US" sz="1600" b="1">
                  <a:latin typeface="Times New Roman" charset="0"/>
                  <a:cs typeface="Times New Roman" charset="0"/>
                </a:endParaRPr>
              </a:p>
            </p:txBody>
          </p:sp>
          <p:sp>
            <p:nvSpPr>
              <p:cNvPr id="46249" name="Freeform 63"/>
              <p:cNvSpPr>
                <a:spLocks/>
              </p:cNvSpPr>
              <p:nvPr/>
            </p:nvSpPr>
            <p:spPr bwMode="auto">
              <a:xfrm>
                <a:off x="3910" y="1326"/>
                <a:ext cx="20" cy="13"/>
              </a:xfrm>
              <a:custGeom>
                <a:avLst/>
                <a:gdLst>
                  <a:gd name="T0" fmla="*/ 0 w 103"/>
                  <a:gd name="T1" fmla="*/ 0 h 66"/>
                  <a:gd name="T2" fmla="*/ 0 w 103"/>
                  <a:gd name="T3" fmla="*/ 0 h 66"/>
                  <a:gd name="T4" fmla="*/ 0 w 103"/>
                  <a:gd name="T5" fmla="*/ 0 h 66"/>
                  <a:gd name="T6" fmla="*/ 0 w 103"/>
                  <a:gd name="T7" fmla="*/ 0 h 66"/>
                  <a:gd name="T8" fmla="*/ 0 w 103"/>
                  <a:gd name="T9" fmla="*/ 0 h 66"/>
                  <a:gd name="T10" fmla="*/ 0 w 103"/>
                  <a:gd name="T11" fmla="*/ 0 h 66"/>
                  <a:gd name="T12" fmla="*/ 0 w 103"/>
                  <a:gd name="T13" fmla="*/ 0 h 66"/>
                  <a:gd name="T14" fmla="*/ 0 w 103"/>
                  <a:gd name="T15" fmla="*/ 0 h 66"/>
                  <a:gd name="T16" fmla="*/ 0 w 103"/>
                  <a:gd name="T17" fmla="*/ 0 h 66"/>
                  <a:gd name="T18" fmla="*/ 0 w 103"/>
                  <a:gd name="T19" fmla="*/ 0 h 66"/>
                  <a:gd name="T20" fmla="*/ 0 w 103"/>
                  <a:gd name="T21" fmla="*/ 0 h 66"/>
                  <a:gd name="T22" fmla="*/ 0 w 103"/>
                  <a:gd name="T23" fmla="*/ 0 h 66"/>
                  <a:gd name="T24" fmla="*/ 0 w 103"/>
                  <a:gd name="T25" fmla="*/ 0 h 66"/>
                  <a:gd name="T26" fmla="*/ 0 w 103"/>
                  <a:gd name="T27" fmla="*/ 0 h 66"/>
                  <a:gd name="T28" fmla="*/ 0 w 103"/>
                  <a:gd name="T29" fmla="*/ 0 h 66"/>
                  <a:gd name="T30" fmla="*/ 0 w 103"/>
                  <a:gd name="T31" fmla="*/ 0 h 66"/>
                  <a:gd name="T32" fmla="*/ 0 w 103"/>
                  <a:gd name="T33" fmla="*/ 0 h 66"/>
                  <a:gd name="T34" fmla="*/ 0 w 103"/>
                  <a:gd name="T35" fmla="*/ 0 h 66"/>
                  <a:gd name="T36" fmla="*/ 0 w 103"/>
                  <a:gd name="T37" fmla="*/ 0 h 66"/>
                  <a:gd name="T38" fmla="*/ 0 w 103"/>
                  <a:gd name="T39" fmla="*/ 0 h 66"/>
                  <a:gd name="T40" fmla="*/ 0 w 103"/>
                  <a:gd name="T41" fmla="*/ 0 h 66"/>
                  <a:gd name="T42" fmla="*/ 0 w 103"/>
                  <a:gd name="T43" fmla="*/ 0 h 66"/>
                  <a:gd name="T44" fmla="*/ 0 w 103"/>
                  <a:gd name="T45" fmla="*/ 0 h 66"/>
                  <a:gd name="T46" fmla="*/ 0 w 103"/>
                  <a:gd name="T47" fmla="*/ 0 h 66"/>
                  <a:gd name="T48" fmla="*/ 0 w 103"/>
                  <a:gd name="T49" fmla="*/ 0 h 6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103"/>
                  <a:gd name="T76" fmla="*/ 0 h 66"/>
                  <a:gd name="T77" fmla="*/ 103 w 103"/>
                  <a:gd name="T78" fmla="*/ 66 h 6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103" h="66">
                    <a:moveTo>
                      <a:pt x="36" y="0"/>
                    </a:moveTo>
                    <a:lnTo>
                      <a:pt x="25" y="0"/>
                    </a:lnTo>
                    <a:lnTo>
                      <a:pt x="15" y="4"/>
                    </a:lnTo>
                    <a:lnTo>
                      <a:pt x="5" y="11"/>
                    </a:lnTo>
                    <a:lnTo>
                      <a:pt x="0" y="21"/>
                    </a:lnTo>
                    <a:lnTo>
                      <a:pt x="0" y="28"/>
                    </a:lnTo>
                    <a:lnTo>
                      <a:pt x="2" y="40"/>
                    </a:lnTo>
                    <a:lnTo>
                      <a:pt x="10" y="49"/>
                    </a:lnTo>
                    <a:lnTo>
                      <a:pt x="23" y="57"/>
                    </a:lnTo>
                    <a:lnTo>
                      <a:pt x="31" y="61"/>
                    </a:lnTo>
                    <a:lnTo>
                      <a:pt x="46" y="65"/>
                    </a:lnTo>
                    <a:lnTo>
                      <a:pt x="54" y="66"/>
                    </a:lnTo>
                    <a:lnTo>
                      <a:pt x="67" y="66"/>
                    </a:lnTo>
                    <a:lnTo>
                      <a:pt x="77" y="66"/>
                    </a:lnTo>
                    <a:lnTo>
                      <a:pt x="88" y="65"/>
                    </a:lnTo>
                    <a:lnTo>
                      <a:pt x="96" y="59"/>
                    </a:lnTo>
                    <a:lnTo>
                      <a:pt x="103" y="49"/>
                    </a:lnTo>
                    <a:lnTo>
                      <a:pt x="103" y="38"/>
                    </a:lnTo>
                    <a:lnTo>
                      <a:pt x="103" y="30"/>
                    </a:lnTo>
                    <a:lnTo>
                      <a:pt x="95" y="21"/>
                    </a:lnTo>
                    <a:lnTo>
                      <a:pt x="86" y="13"/>
                    </a:lnTo>
                    <a:lnTo>
                      <a:pt x="75" y="7"/>
                    </a:lnTo>
                    <a:lnTo>
                      <a:pt x="64" y="2"/>
                    </a:lnTo>
                    <a:lnTo>
                      <a:pt x="49" y="0"/>
                    </a:lnTo>
                    <a:lnTo>
                      <a:pt x="36" y="0"/>
                    </a:lnTo>
                    <a:close/>
                  </a:path>
                </a:pathLst>
              </a:custGeom>
              <a:solidFill>
                <a:srgbClr val="9F9FBF"/>
              </a:solidFill>
              <a:ln w="9525">
                <a:noFill/>
                <a:round/>
                <a:headEnd/>
                <a:tailEnd/>
              </a:ln>
            </p:spPr>
            <p:txBody>
              <a:bodyPr/>
              <a:lstStyle/>
              <a:p>
                <a:endParaRPr lang="ja-JP" altLang="en-US" sz="1600" b="1">
                  <a:latin typeface="Times New Roman" charset="0"/>
                  <a:cs typeface="Times New Roman" charset="0"/>
                </a:endParaRPr>
              </a:p>
            </p:txBody>
          </p:sp>
          <p:sp>
            <p:nvSpPr>
              <p:cNvPr id="46250" name="Freeform 64"/>
              <p:cNvSpPr>
                <a:spLocks/>
              </p:cNvSpPr>
              <p:nvPr/>
            </p:nvSpPr>
            <p:spPr bwMode="auto">
              <a:xfrm>
                <a:off x="3910" y="1326"/>
                <a:ext cx="20" cy="13"/>
              </a:xfrm>
              <a:custGeom>
                <a:avLst/>
                <a:gdLst>
                  <a:gd name="T0" fmla="*/ 0 w 103"/>
                  <a:gd name="T1" fmla="*/ 0 h 66"/>
                  <a:gd name="T2" fmla="*/ 0 w 103"/>
                  <a:gd name="T3" fmla="*/ 0 h 66"/>
                  <a:gd name="T4" fmla="*/ 0 w 103"/>
                  <a:gd name="T5" fmla="*/ 0 h 66"/>
                  <a:gd name="T6" fmla="*/ 0 w 103"/>
                  <a:gd name="T7" fmla="*/ 0 h 66"/>
                  <a:gd name="T8" fmla="*/ 0 w 103"/>
                  <a:gd name="T9" fmla="*/ 0 h 66"/>
                  <a:gd name="T10" fmla="*/ 0 w 103"/>
                  <a:gd name="T11" fmla="*/ 0 h 66"/>
                  <a:gd name="T12" fmla="*/ 0 w 103"/>
                  <a:gd name="T13" fmla="*/ 0 h 66"/>
                  <a:gd name="T14" fmla="*/ 0 w 103"/>
                  <a:gd name="T15" fmla="*/ 0 h 66"/>
                  <a:gd name="T16" fmla="*/ 0 w 103"/>
                  <a:gd name="T17" fmla="*/ 0 h 66"/>
                  <a:gd name="T18" fmla="*/ 0 w 103"/>
                  <a:gd name="T19" fmla="*/ 0 h 66"/>
                  <a:gd name="T20" fmla="*/ 0 w 103"/>
                  <a:gd name="T21" fmla="*/ 0 h 66"/>
                  <a:gd name="T22" fmla="*/ 0 w 103"/>
                  <a:gd name="T23" fmla="*/ 0 h 66"/>
                  <a:gd name="T24" fmla="*/ 0 w 103"/>
                  <a:gd name="T25" fmla="*/ 0 h 66"/>
                  <a:gd name="T26" fmla="*/ 0 w 103"/>
                  <a:gd name="T27" fmla="*/ 0 h 66"/>
                  <a:gd name="T28" fmla="*/ 0 w 103"/>
                  <a:gd name="T29" fmla="*/ 0 h 66"/>
                  <a:gd name="T30" fmla="*/ 0 w 103"/>
                  <a:gd name="T31" fmla="*/ 0 h 66"/>
                  <a:gd name="T32" fmla="*/ 0 w 103"/>
                  <a:gd name="T33" fmla="*/ 0 h 66"/>
                  <a:gd name="T34" fmla="*/ 0 w 103"/>
                  <a:gd name="T35" fmla="*/ 0 h 66"/>
                  <a:gd name="T36" fmla="*/ 0 w 103"/>
                  <a:gd name="T37" fmla="*/ 0 h 66"/>
                  <a:gd name="T38" fmla="*/ 0 w 103"/>
                  <a:gd name="T39" fmla="*/ 0 h 66"/>
                  <a:gd name="T40" fmla="*/ 0 w 103"/>
                  <a:gd name="T41" fmla="*/ 0 h 66"/>
                  <a:gd name="T42" fmla="*/ 0 w 103"/>
                  <a:gd name="T43" fmla="*/ 0 h 66"/>
                  <a:gd name="T44" fmla="*/ 0 w 103"/>
                  <a:gd name="T45" fmla="*/ 0 h 66"/>
                  <a:gd name="T46" fmla="*/ 0 w 103"/>
                  <a:gd name="T47" fmla="*/ 0 h 66"/>
                  <a:gd name="T48" fmla="*/ 0 w 103"/>
                  <a:gd name="T49" fmla="*/ 0 h 6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103"/>
                  <a:gd name="T76" fmla="*/ 0 h 66"/>
                  <a:gd name="T77" fmla="*/ 103 w 103"/>
                  <a:gd name="T78" fmla="*/ 66 h 6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103" h="66">
                    <a:moveTo>
                      <a:pt x="36" y="0"/>
                    </a:moveTo>
                    <a:lnTo>
                      <a:pt x="25" y="0"/>
                    </a:lnTo>
                    <a:lnTo>
                      <a:pt x="15" y="4"/>
                    </a:lnTo>
                    <a:lnTo>
                      <a:pt x="5" y="11"/>
                    </a:lnTo>
                    <a:lnTo>
                      <a:pt x="0" y="21"/>
                    </a:lnTo>
                    <a:lnTo>
                      <a:pt x="0" y="28"/>
                    </a:lnTo>
                    <a:lnTo>
                      <a:pt x="2" y="40"/>
                    </a:lnTo>
                    <a:lnTo>
                      <a:pt x="10" y="49"/>
                    </a:lnTo>
                    <a:lnTo>
                      <a:pt x="23" y="57"/>
                    </a:lnTo>
                    <a:lnTo>
                      <a:pt x="31" y="61"/>
                    </a:lnTo>
                    <a:lnTo>
                      <a:pt x="46" y="65"/>
                    </a:lnTo>
                    <a:lnTo>
                      <a:pt x="54" y="66"/>
                    </a:lnTo>
                    <a:lnTo>
                      <a:pt x="67" y="66"/>
                    </a:lnTo>
                    <a:lnTo>
                      <a:pt x="77" y="66"/>
                    </a:lnTo>
                    <a:lnTo>
                      <a:pt x="88" y="65"/>
                    </a:lnTo>
                    <a:lnTo>
                      <a:pt x="96" y="59"/>
                    </a:lnTo>
                    <a:lnTo>
                      <a:pt x="103" y="49"/>
                    </a:lnTo>
                    <a:lnTo>
                      <a:pt x="103" y="38"/>
                    </a:lnTo>
                    <a:lnTo>
                      <a:pt x="103" y="30"/>
                    </a:lnTo>
                    <a:lnTo>
                      <a:pt x="95" y="21"/>
                    </a:lnTo>
                    <a:lnTo>
                      <a:pt x="86" y="13"/>
                    </a:lnTo>
                    <a:lnTo>
                      <a:pt x="75" y="7"/>
                    </a:lnTo>
                    <a:lnTo>
                      <a:pt x="64" y="2"/>
                    </a:lnTo>
                    <a:lnTo>
                      <a:pt x="49" y="0"/>
                    </a:lnTo>
                    <a:lnTo>
                      <a:pt x="36" y="0"/>
                    </a:lnTo>
                    <a:close/>
                  </a:path>
                </a:pathLst>
              </a:custGeom>
              <a:noFill/>
              <a:ln w="3175">
                <a:solidFill>
                  <a:srgbClr val="000000"/>
                </a:solidFill>
                <a:round/>
                <a:headEnd/>
                <a:tailEnd/>
              </a:ln>
            </p:spPr>
            <p:txBody>
              <a:bodyPr/>
              <a:lstStyle/>
              <a:p>
                <a:endParaRPr lang="ja-JP" altLang="en-US" sz="1600" b="1">
                  <a:latin typeface="Times New Roman" charset="0"/>
                  <a:cs typeface="Times New Roman" charset="0"/>
                </a:endParaRPr>
              </a:p>
            </p:txBody>
          </p:sp>
          <p:sp>
            <p:nvSpPr>
              <p:cNvPr id="46251" name="Freeform 65"/>
              <p:cNvSpPr>
                <a:spLocks/>
              </p:cNvSpPr>
              <p:nvPr/>
            </p:nvSpPr>
            <p:spPr bwMode="auto">
              <a:xfrm>
                <a:off x="3987" y="1377"/>
                <a:ext cx="18" cy="14"/>
              </a:xfrm>
              <a:custGeom>
                <a:avLst/>
                <a:gdLst>
                  <a:gd name="T0" fmla="*/ 0 w 90"/>
                  <a:gd name="T1" fmla="*/ 0 h 71"/>
                  <a:gd name="T2" fmla="*/ 0 w 90"/>
                  <a:gd name="T3" fmla="*/ 0 h 71"/>
                  <a:gd name="T4" fmla="*/ 0 w 90"/>
                  <a:gd name="T5" fmla="*/ 0 h 71"/>
                  <a:gd name="T6" fmla="*/ 0 w 90"/>
                  <a:gd name="T7" fmla="*/ 0 h 71"/>
                  <a:gd name="T8" fmla="*/ 0 w 90"/>
                  <a:gd name="T9" fmla="*/ 0 h 71"/>
                  <a:gd name="T10" fmla="*/ 0 w 90"/>
                  <a:gd name="T11" fmla="*/ 0 h 71"/>
                  <a:gd name="T12" fmla="*/ 0 w 90"/>
                  <a:gd name="T13" fmla="*/ 0 h 71"/>
                  <a:gd name="T14" fmla="*/ 0 w 90"/>
                  <a:gd name="T15" fmla="*/ 0 h 71"/>
                  <a:gd name="T16" fmla="*/ 0 w 90"/>
                  <a:gd name="T17" fmla="*/ 0 h 71"/>
                  <a:gd name="T18" fmla="*/ 0 w 90"/>
                  <a:gd name="T19" fmla="*/ 0 h 71"/>
                  <a:gd name="T20" fmla="*/ 0 w 90"/>
                  <a:gd name="T21" fmla="*/ 0 h 71"/>
                  <a:gd name="T22" fmla="*/ 0 w 90"/>
                  <a:gd name="T23" fmla="*/ 0 h 71"/>
                  <a:gd name="T24" fmla="*/ 0 w 90"/>
                  <a:gd name="T25" fmla="*/ 0 h 71"/>
                  <a:gd name="T26" fmla="*/ 0 w 90"/>
                  <a:gd name="T27" fmla="*/ 0 h 71"/>
                  <a:gd name="T28" fmla="*/ 0 w 90"/>
                  <a:gd name="T29" fmla="*/ 0 h 71"/>
                  <a:gd name="T30" fmla="*/ 0 w 90"/>
                  <a:gd name="T31" fmla="*/ 0 h 71"/>
                  <a:gd name="T32" fmla="*/ 0 w 90"/>
                  <a:gd name="T33" fmla="*/ 0 h 71"/>
                  <a:gd name="T34" fmla="*/ 0 w 90"/>
                  <a:gd name="T35" fmla="*/ 0 h 71"/>
                  <a:gd name="T36" fmla="*/ 0 w 90"/>
                  <a:gd name="T37" fmla="*/ 0 h 71"/>
                  <a:gd name="T38" fmla="*/ 0 w 90"/>
                  <a:gd name="T39" fmla="*/ 0 h 71"/>
                  <a:gd name="T40" fmla="*/ 0 w 90"/>
                  <a:gd name="T41" fmla="*/ 0 h 71"/>
                  <a:gd name="T42" fmla="*/ 0 w 90"/>
                  <a:gd name="T43" fmla="*/ 0 h 71"/>
                  <a:gd name="T44" fmla="*/ 0 w 90"/>
                  <a:gd name="T45" fmla="*/ 0 h 71"/>
                  <a:gd name="T46" fmla="*/ 0 w 90"/>
                  <a:gd name="T47" fmla="*/ 0 h 71"/>
                  <a:gd name="T48" fmla="*/ 0 w 90"/>
                  <a:gd name="T49" fmla="*/ 0 h 71"/>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90"/>
                  <a:gd name="T76" fmla="*/ 0 h 71"/>
                  <a:gd name="T77" fmla="*/ 90 w 90"/>
                  <a:gd name="T78" fmla="*/ 71 h 71"/>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90" h="71">
                    <a:moveTo>
                      <a:pt x="32" y="0"/>
                    </a:moveTo>
                    <a:lnTo>
                      <a:pt x="21" y="0"/>
                    </a:lnTo>
                    <a:lnTo>
                      <a:pt x="11" y="2"/>
                    </a:lnTo>
                    <a:lnTo>
                      <a:pt x="5" y="12"/>
                    </a:lnTo>
                    <a:lnTo>
                      <a:pt x="0" y="21"/>
                    </a:lnTo>
                    <a:lnTo>
                      <a:pt x="0" y="31"/>
                    </a:lnTo>
                    <a:lnTo>
                      <a:pt x="0" y="42"/>
                    </a:lnTo>
                    <a:lnTo>
                      <a:pt x="10" y="54"/>
                    </a:lnTo>
                    <a:lnTo>
                      <a:pt x="21" y="61"/>
                    </a:lnTo>
                    <a:lnTo>
                      <a:pt x="28" y="68"/>
                    </a:lnTo>
                    <a:lnTo>
                      <a:pt x="41" y="71"/>
                    </a:lnTo>
                    <a:lnTo>
                      <a:pt x="47" y="71"/>
                    </a:lnTo>
                    <a:lnTo>
                      <a:pt x="59" y="71"/>
                    </a:lnTo>
                    <a:lnTo>
                      <a:pt x="67" y="71"/>
                    </a:lnTo>
                    <a:lnTo>
                      <a:pt x="75" y="69"/>
                    </a:lnTo>
                    <a:lnTo>
                      <a:pt x="85" y="63"/>
                    </a:lnTo>
                    <a:lnTo>
                      <a:pt x="90" y="54"/>
                    </a:lnTo>
                    <a:lnTo>
                      <a:pt x="90" y="40"/>
                    </a:lnTo>
                    <a:lnTo>
                      <a:pt x="90" y="31"/>
                    </a:lnTo>
                    <a:lnTo>
                      <a:pt x="85" y="23"/>
                    </a:lnTo>
                    <a:lnTo>
                      <a:pt x="75" y="14"/>
                    </a:lnTo>
                    <a:lnTo>
                      <a:pt x="65" y="7"/>
                    </a:lnTo>
                    <a:lnTo>
                      <a:pt x="52" y="2"/>
                    </a:lnTo>
                    <a:lnTo>
                      <a:pt x="41" y="0"/>
                    </a:lnTo>
                    <a:lnTo>
                      <a:pt x="32" y="0"/>
                    </a:lnTo>
                    <a:close/>
                  </a:path>
                </a:pathLst>
              </a:custGeom>
              <a:solidFill>
                <a:srgbClr val="9F9FBF"/>
              </a:solidFill>
              <a:ln w="9525">
                <a:noFill/>
                <a:round/>
                <a:headEnd/>
                <a:tailEnd/>
              </a:ln>
            </p:spPr>
            <p:txBody>
              <a:bodyPr/>
              <a:lstStyle/>
              <a:p>
                <a:endParaRPr lang="ja-JP" altLang="en-US" sz="1600" b="1">
                  <a:latin typeface="Times New Roman" charset="0"/>
                  <a:cs typeface="Times New Roman" charset="0"/>
                </a:endParaRPr>
              </a:p>
            </p:txBody>
          </p:sp>
          <p:sp>
            <p:nvSpPr>
              <p:cNvPr id="46252" name="Freeform 66"/>
              <p:cNvSpPr>
                <a:spLocks/>
              </p:cNvSpPr>
              <p:nvPr/>
            </p:nvSpPr>
            <p:spPr bwMode="auto">
              <a:xfrm>
                <a:off x="3987" y="1377"/>
                <a:ext cx="18" cy="14"/>
              </a:xfrm>
              <a:custGeom>
                <a:avLst/>
                <a:gdLst>
                  <a:gd name="T0" fmla="*/ 0 w 90"/>
                  <a:gd name="T1" fmla="*/ 0 h 71"/>
                  <a:gd name="T2" fmla="*/ 0 w 90"/>
                  <a:gd name="T3" fmla="*/ 0 h 71"/>
                  <a:gd name="T4" fmla="*/ 0 w 90"/>
                  <a:gd name="T5" fmla="*/ 0 h 71"/>
                  <a:gd name="T6" fmla="*/ 0 w 90"/>
                  <a:gd name="T7" fmla="*/ 0 h 71"/>
                  <a:gd name="T8" fmla="*/ 0 w 90"/>
                  <a:gd name="T9" fmla="*/ 0 h 71"/>
                  <a:gd name="T10" fmla="*/ 0 w 90"/>
                  <a:gd name="T11" fmla="*/ 0 h 71"/>
                  <a:gd name="T12" fmla="*/ 0 w 90"/>
                  <a:gd name="T13" fmla="*/ 0 h 71"/>
                  <a:gd name="T14" fmla="*/ 0 w 90"/>
                  <a:gd name="T15" fmla="*/ 0 h 71"/>
                  <a:gd name="T16" fmla="*/ 0 w 90"/>
                  <a:gd name="T17" fmla="*/ 0 h 71"/>
                  <a:gd name="T18" fmla="*/ 0 w 90"/>
                  <a:gd name="T19" fmla="*/ 0 h 71"/>
                  <a:gd name="T20" fmla="*/ 0 w 90"/>
                  <a:gd name="T21" fmla="*/ 0 h 71"/>
                  <a:gd name="T22" fmla="*/ 0 w 90"/>
                  <a:gd name="T23" fmla="*/ 0 h 71"/>
                  <a:gd name="T24" fmla="*/ 0 w 90"/>
                  <a:gd name="T25" fmla="*/ 0 h 71"/>
                  <a:gd name="T26" fmla="*/ 0 w 90"/>
                  <a:gd name="T27" fmla="*/ 0 h 71"/>
                  <a:gd name="T28" fmla="*/ 0 w 90"/>
                  <a:gd name="T29" fmla="*/ 0 h 71"/>
                  <a:gd name="T30" fmla="*/ 0 w 90"/>
                  <a:gd name="T31" fmla="*/ 0 h 71"/>
                  <a:gd name="T32" fmla="*/ 0 w 90"/>
                  <a:gd name="T33" fmla="*/ 0 h 71"/>
                  <a:gd name="T34" fmla="*/ 0 w 90"/>
                  <a:gd name="T35" fmla="*/ 0 h 71"/>
                  <a:gd name="T36" fmla="*/ 0 w 90"/>
                  <a:gd name="T37" fmla="*/ 0 h 71"/>
                  <a:gd name="T38" fmla="*/ 0 w 90"/>
                  <a:gd name="T39" fmla="*/ 0 h 71"/>
                  <a:gd name="T40" fmla="*/ 0 w 90"/>
                  <a:gd name="T41" fmla="*/ 0 h 71"/>
                  <a:gd name="T42" fmla="*/ 0 w 90"/>
                  <a:gd name="T43" fmla="*/ 0 h 71"/>
                  <a:gd name="T44" fmla="*/ 0 w 90"/>
                  <a:gd name="T45" fmla="*/ 0 h 71"/>
                  <a:gd name="T46" fmla="*/ 0 w 90"/>
                  <a:gd name="T47" fmla="*/ 0 h 71"/>
                  <a:gd name="T48" fmla="*/ 0 w 90"/>
                  <a:gd name="T49" fmla="*/ 0 h 71"/>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90"/>
                  <a:gd name="T76" fmla="*/ 0 h 71"/>
                  <a:gd name="T77" fmla="*/ 90 w 90"/>
                  <a:gd name="T78" fmla="*/ 71 h 71"/>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90" h="71">
                    <a:moveTo>
                      <a:pt x="32" y="0"/>
                    </a:moveTo>
                    <a:lnTo>
                      <a:pt x="21" y="0"/>
                    </a:lnTo>
                    <a:lnTo>
                      <a:pt x="11" y="2"/>
                    </a:lnTo>
                    <a:lnTo>
                      <a:pt x="5" y="12"/>
                    </a:lnTo>
                    <a:lnTo>
                      <a:pt x="0" y="21"/>
                    </a:lnTo>
                    <a:lnTo>
                      <a:pt x="0" y="31"/>
                    </a:lnTo>
                    <a:lnTo>
                      <a:pt x="0" y="42"/>
                    </a:lnTo>
                    <a:lnTo>
                      <a:pt x="10" y="54"/>
                    </a:lnTo>
                    <a:lnTo>
                      <a:pt x="21" y="61"/>
                    </a:lnTo>
                    <a:lnTo>
                      <a:pt x="28" y="68"/>
                    </a:lnTo>
                    <a:lnTo>
                      <a:pt x="41" y="71"/>
                    </a:lnTo>
                    <a:lnTo>
                      <a:pt x="47" y="71"/>
                    </a:lnTo>
                    <a:lnTo>
                      <a:pt x="59" y="71"/>
                    </a:lnTo>
                    <a:lnTo>
                      <a:pt x="67" y="71"/>
                    </a:lnTo>
                    <a:lnTo>
                      <a:pt x="75" y="69"/>
                    </a:lnTo>
                    <a:lnTo>
                      <a:pt x="85" y="63"/>
                    </a:lnTo>
                    <a:lnTo>
                      <a:pt x="90" y="54"/>
                    </a:lnTo>
                    <a:lnTo>
                      <a:pt x="90" y="40"/>
                    </a:lnTo>
                    <a:lnTo>
                      <a:pt x="90" y="31"/>
                    </a:lnTo>
                    <a:lnTo>
                      <a:pt x="85" y="23"/>
                    </a:lnTo>
                    <a:lnTo>
                      <a:pt x="75" y="14"/>
                    </a:lnTo>
                    <a:lnTo>
                      <a:pt x="65" y="7"/>
                    </a:lnTo>
                    <a:lnTo>
                      <a:pt x="52" y="2"/>
                    </a:lnTo>
                    <a:lnTo>
                      <a:pt x="41" y="0"/>
                    </a:lnTo>
                    <a:lnTo>
                      <a:pt x="32" y="0"/>
                    </a:lnTo>
                    <a:close/>
                  </a:path>
                </a:pathLst>
              </a:custGeom>
              <a:noFill/>
              <a:ln w="3175">
                <a:solidFill>
                  <a:srgbClr val="000000"/>
                </a:solidFill>
                <a:round/>
                <a:headEnd/>
                <a:tailEnd/>
              </a:ln>
            </p:spPr>
            <p:txBody>
              <a:bodyPr/>
              <a:lstStyle/>
              <a:p>
                <a:endParaRPr lang="ja-JP" altLang="en-US" sz="1600" b="1">
                  <a:latin typeface="Times New Roman" charset="0"/>
                  <a:cs typeface="Times New Roman" charset="0"/>
                </a:endParaRPr>
              </a:p>
            </p:txBody>
          </p:sp>
          <p:sp>
            <p:nvSpPr>
              <p:cNvPr id="46253" name="Freeform 67"/>
              <p:cNvSpPr>
                <a:spLocks/>
              </p:cNvSpPr>
              <p:nvPr/>
            </p:nvSpPr>
            <p:spPr bwMode="auto">
              <a:xfrm>
                <a:off x="3930" y="1424"/>
                <a:ext cx="20" cy="19"/>
              </a:xfrm>
              <a:custGeom>
                <a:avLst/>
                <a:gdLst>
                  <a:gd name="T0" fmla="*/ 0 w 102"/>
                  <a:gd name="T1" fmla="*/ 0 h 93"/>
                  <a:gd name="T2" fmla="*/ 0 w 102"/>
                  <a:gd name="T3" fmla="*/ 0 h 93"/>
                  <a:gd name="T4" fmla="*/ 0 w 102"/>
                  <a:gd name="T5" fmla="*/ 0 h 93"/>
                  <a:gd name="T6" fmla="*/ 0 w 102"/>
                  <a:gd name="T7" fmla="*/ 0 h 93"/>
                  <a:gd name="T8" fmla="*/ 0 w 102"/>
                  <a:gd name="T9" fmla="*/ 0 h 93"/>
                  <a:gd name="T10" fmla="*/ 0 w 102"/>
                  <a:gd name="T11" fmla="*/ 0 h 93"/>
                  <a:gd name="T12" fmla="*/ 0 w 102"/>
                  <a:gd name="T13" fmla="*/ 0 h 93"/>
                  <a:gd name="T14" fmla="*/ 0 w 102"/>
                  <a:gd name="T15" fmla="*/ 0 h 93"/>
                  <a:gd name="T16" fmla="*/ 0 w 102"/>
                  <a:gd name="T17" fmla="*/ 0 h 93"/>
                  <a:gd name="T18" fmla="*/ 0 w 102"/>
                  <a:gd name="T19" fmla="*/ 0 h 93"/>
                  <a:gd name="T20" fmla="*/ 0 w 102"/>
                  <a:gd name="T21" fmla="*/ 0 h 93"/>
                  <a:gd name="T22" fmla="*/ 0 w 102"/>
                  <a:gd name="T23" fmla="*/ 0 h 93"/>
                  <a:gd name="T24" fmla="*/ 0 w 102"/>
                  <a:gd name="T25" fmla="*/ 0 h 93"/>
                  <a:gd name="T26" fmla="*/ 0 w 102"/>
                  <a:gd name="T27" fmla="*/ 0 h 93"/>
                  <a:gd name="T28" fmla="*/ 0 w 102"/>
                  <a:gd name="T29" fmla="*/ 0 h 93"/>
                  <a:gd name="T30" fmla="*/ 0 w 102"/>
                  <a:gd name="T31" fmla="*/ 0 h 93"/>
                  <a:gd name="T32" fmla="*/ 0 w 102"/>
                  <a:gd name="T33" fmla="*/ 0 h 93"/>
                  <a:gd name="T34" fmla="*/ 0 w 102"/>
                  <a:gd name="T35" fmla="*/ 0 h 93"/>
                  <a:gd name="T36" fmla="*/ 0 w 102"/>
                  <a:gd name="T37" fmla="*/ 0 h 93"/>
                  <a:gd name="T38" fmla="*/ 0 w 102"/>
                  <a:gd name="T39" fmla="*/ 0 h 93"/>
                  <a:gd name="T40" fmla="*/ 0 w 102"/>
                  <a:gd name="T41" fmla="*/ 0 h 93"/>
                  <a:gd name="T42" fmla="*/ 0 w 102"/>
                  <a:gd name="T43" fmla="*/ 0 h 93"/>
                  <a:gd name="T44" fmla="*/ 0 w 102"/>
                  <a:gd name="T45" fmla="*/ 0 h 93"/>
                  <a:gd name="T46" fmla="*/ 0 w 102"/>
                  <a:gd name="T47" fmla="*/ 0 h 93"/>
                  <a:gd name="T48" fmla="*/ 0 w 102"/>
                  <a:gd name="T49" fmla="*/ 0 h 93"/>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102"/>
                  <a:gd name="T76" fmla="*/ 0 h 93"/>
                  <a:gd name="T77" fmla="*/ 102 w 102"/>
                  <a:gd name="T78" fmla="*/ 93 h 93"/>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102" h="93">
                    <a:moveTo>
                      <a:pt x="35" y="0"/>
                    </a:moveTo>
                    <a:lnTo>
                      <a:pt x="25" y="0"/>
                    </a:lnTo>
                    <a:lnTo>
                      <a:pt x="12" y="3"/>
                    </a:lnTo>
                    <a:lnTo>
                      <a:pt x="4" y="15"/>
                    </a:lnTo>
                    <a:lnTo>
                      <a:pt x="0" y="27"/>
                    </a:lnTo>
                    <a:lnTo>
                      <a:pt x="0" y="40"/>
                    </a:lnTo>
                    <a:lnTo>
                      <a:pt x="0" y="55"/>
                    </a:lnTo>
                    <a:lnTo>
                      <a:pt x="10" y="71"/>
                    </a:lnTo>
                    <a:lnTo>
                      <a:pt x="23" y="80"/>
                    </a:lnTo>
                    <a:lnTo>
                      <a:pt x="31" y="88"/>
                    </a:lnTo>
                    <a:lnTo>
                      <a:pt x="46" y="91"/>
                    </a:lnTo>
                    <a:lnTo>
                      <a:pt x="52" y="93"/>
                    </a:lnTo>
                    <a:lnTo>
                      <a:pt x="67" y="93"/>
                    </a:lnTo>
                    <a:lnTo>
                      <a:pt x="77" y="93"/>
                    </a:lnTo>
                    <a:lnTo>
                      <a:pt x="85" y="90"/>
                    </a:lnTo>
                    <a:lnTo>
                      <a:pt x="95" y="81"/>
                    </a:lnTo>
                    <a:lnTo>
                      <a:pt x="102" y="71"/>
                    </a:lnTo>
                    <a:lnTo>
                      <a:pt x="102" y="53"/>
                    </a:lnTo>
                    <a:lnTo>
                      <a:pt x="102" y="40"/>
                    </a:lnTo>
                    <a:lnTo>
                      <a:pt x="93" y="29"/>
                    </a:lnTo>
                    <a:lnTo>
                      <a:pt x="85" y="17"/>
                    </a:lnTo>
                    <a:lnTo>
                      <a:pt x="72" y="11"/>
                    </a:lnTo>
                    <a:lnTo>
                      <a:pt x="60" y="3"/>
                    </a:lnTo>
                    <a:lnTo>
                      <a:pt x="46" y="0"/>
                    </a:lnTo>
                    <a:lnTo>
                      <a:pt x="35" y="0"/>
                    </a:lnTo>
                    <a:close/>
                  </a:path>
                </a:pathLst>
              </a:custGeom>
              <a:solidFill>
                <a:srgbClr val="9F9FBF"/>
              </a:solidFill>
              <a:ln w="9525">
                <a:noFill/>
                <a:round/>
                <a:headEnd/>
                <a:tailEnd/>
              </a:ln>
            </p:spPr>
            <p:txBody>
              <a:bodyPr/>
              <a:lstStyle/>
              <a:p>
                <a:endParaRPr lang="ja-JP" altLang="en-US" sz="1600" b="1">
                  <a:latin typeface="Times New Roman" charset="0"/>
                  <a:cs typeface="Times New Roman" charset="0"/>
                </a:endParaRPr>
              </a:p>
            </p:txBody>
          </p:sp>
          <p:sp>
            <p:nvSpPr>
              <p:cNvPr id="46254" name="Freeform 68"/>
              <p:cNvSpPr>
                <a:spLocks/>
              </p:cNvSpPr>
              <p:nvPr/>
            </p:nvSpPr>
            <p:spPr bwMode="auto">
              <a:xfrm>
                <a:off x="3930" y="1424"/>
                <a:ext cx="20" cy="19"/>
              </a:xfrm>
              <a:custGeom>
                <a:avLst/>
                <a:gdLst>
                  <a:gd name="T0" fmla="*/ 0 w 102"/>
                  <a:gd name="T1" fmla="*/ 0 h 93"/>
                  <a:gd name="T2" fmla="*/ 0 w 102"/>
                  <a:gd name="T3" fmla="*/ 0 h 93"/>
                  <a:gd name="T4" fmla="*/ 0 w 102"/>
                  <a:gd name="T5" fmla="*/ 0 h 93"/>
                  <a:gd name="T6" fmla="*/ 0 w 102"/>
                  <a:gd name="T7" fmla="*/ 0 h 93"/>
                  <a:gd name="T8" fmla="*/ 0 w 102"/>
                  <a:gd name="T9" fmla="*/ 0 h 93"/>
                  <a:gd name="T10" fmla="*/ 0 w 102"/>
                  <a:gd name="T11" fmla="*/ 0 h 93"/>
                  <a:gd name="T12" fmla="*/ 0 w 102"/>
                  <a:gd name="T13" fmla="*/ 0 h 93"/>
                  <a:gd name="T14" fmla="*/ 0 w 102"/>
                  <a:gd name="T15" fmla="*/ 0 h 93"/>
                  <a:gd name="T16" fmla="*/ 0 w 102"/>
                  <a:gd name="T17" fmla="*/ 0 h 93"/>
                  <a:gd name="T18" fmla="*/ 0 w 102"/>
                  <a:gd name="T19" fmla="*/ 0 h 93"/>
                  <a:gd name="T20" fmla="*/ 0 w 102"/>
                  <a:gd name="T21" fmla="*/ 0 h 93"/>
                  <a:gd name="T22" fmla="*/ 0 w 102"/>
                  <a:gd name="T23" fmla="*/ 0 h 93"/>
                  <a:gd name="T24" fmla="*/ 0 w 102"/>
                  <a:gd name="T25" fmla="*/ 0 h 93"/>
                  <a:gd name="T26" fmla="*/ 0 w 102"/>
                  <a:gd name="T27" fmla="*/ 0 h 93"/>
                  <a:gd name="T28" fmla="*/ 0 w 102"/>
                  <a:gd name="T29" fmla="*/ 0 h 93"/>
                  <a:gd name="T30" fmla="*/ 0 w 102"/>
                  <a:gd name="T31" fmla="*/ 0 h 93"/>
                  <a:gd name="T32" fmla="*/ 0 w 102"/>
                  <a:gd name="T33" fmla="*/ 0 h 93"/>
                  <a:gd name="T34" fmla="*/ 0 w 102"/>
                  <a:gd name="T35" fmla="*/ 0 h 93"/>
                  <a:gd name="T36" fmla="*/ 0 w 102"/>
                  <a:gd name="T37" fmla="*/ 0 h 93"/>
                  <a:gd name="T38" fmla="*/ 0 w 102"/>
                  <a:gd name="T39" fmla="*/ 0 h 93"/>
                  <a:gd name="T40" fmla="*/ 0 w 102"/>
                  <a:gd name="T41" fmla="*/ 0 h 93"/>
                  <a:gd name="T42" fmla="*/ 0 w 102"/>
                  <a:gd name="T43" fmla="*/ 0 h 93"/>
                  <a:gd name="T44" fmla="*/ 0 w 102"/>
                  <a:gd name="T45" fmla="*/ 0 h 93"/>
                  <a:gd name="T46" fmla="*/ 0 w 102"/>
                  <a:gd name="T47" fmla="*/ 0 h 93"/>
                  <a:gd name="T48" fmla="*/ 0 w 102"/>
                  <a:gd name="T49" fmla="*/ 0 h 93"/>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102"/>
                  <a:gd name="T76" fmla="*/ 0 h 93"/>
                  <a:gd name="T77" fmla="*/ 102 w 102"/>
                  <a:gd name="T78" fmla="*/ 93 h 93"/>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102" h="93">
                    <a:moveTo>
                      <a:pt x="35" y="0"/>
                    </a:moveTo>
                    <a:lnTo>
                      <a:pt x="25" y="0"/>
                    </a:lnTo>
                    <a:lnTo>
                      <a:pt x="12" y="3"/>
                    </a:lnTo>
                    <a:lnTo>
                      <a:pt x="4" y="15"/>
                    </a:lnTo>
                    <a:lnTo>
                      <a:pt x="0" y="27"/>
                    </a:lnTo>
                    <a:lnTo>
                      <a:pt x="0" y="40"/>
                    </a:lnTo>
                    <a:lnTo>
                      <a:pt x="0" y="55"/>
                    </a:lnTo>
                    <a:lnTo>
                      <a:pt x="10" y="71"/>
                    </a:lnTo>
                    <a:lnTo>
                      <a:pt x="23" y="80"/>
                    </a:lnTo>
                    <a:lnTo>
                      <a:pt x="31" y="88"/>
                    </a:lnTo>
                    <a:lnTo>
                      <a:pt x="46" y="91"/>
                    </a:lnTo>
                    <a:lnTo>
                      <a:pt x="52" y="93"/>
                    </a:lnTo>
                    <a:lnTo>
                      <a:pt x="67" y="93"/>
                    </a:lnTo>
                    <a:lnTo>
                      <a:pt x="77" y="93"/>
                    </a:lnTo>
                    <a:lnTo>
                      <a:pt x="85" y="90"/>
                    </a:lnTo>
                    <a:lnTo>
                      <a:pt x="95" y="81"/>
                    </a:lnTo>
                    <a:lnTo>
                      <a:pt x="102" y="71"/>
                    </a:lnTo>
                    <a:lnTo>
                      <a:pt x="102" y="53"/>
                    </a:lnTo>
                    <a:lnTo>
                      <a:pt x="102" y="40"/>
                    </a:lnTo>
                    <a:lnTo>
                      <a:pt x="93" y="29"/>
                    </a:lnTo>
                    <a:lnTo>
                      <a:pt x="85" y="17"/>
                    </a:lnTo>
                    <a:lnTo>
                      <a:pt x="72" y="11"/>
                    </a:lnTo>
                    <a:lnTo>
                      <a:pt x="60" y="3"/>
                    </a:lnTo>
                    <a:lnTo>
                      <a:pt x="46" y="0"/>
                    </a:lnTo>
                    <a:lnTo>
                      <a:pt x="35" y="0"/>
                    </a:lnTo>
                    <a:close/>
                  </a:path>
                </a:pathLst>
              </a:custGeom>
              <a:noFill/>
              <a:ln w="3175">
                <a:solidFill>
                  <a:srgbClr val="000000"/>
                </a:solidFill>
                <a:round/>
                <a:headEnd/>
                <a:tailEnd/>
              </a:ln>
            </p:spPr>
            <p:txBody>
              <a:bodyPr/>
              <a:lstStyle/>
              <a:p>
                <a:endParaRPr lang="ja-JP" altLang="en-US" sz="1600" b="1">
                  <a:latin typeface="Times New Roman" charset="0"/>
                  <a:cs typeface="Times New Roman" charset="0"/>
                </a:endParaRPr>
              </a:p>
            </p:txBody>
          </p:sp>
          <p:sp>
            <p:nvSpPr>
              <p:cNvPr id="46255" name="Freeform 69"/>
              <p:cNvSpPr>
                <a:spLocks/>
              </p:cNvSpPr>
              <p:nvPr/>
            </p:nvSpPr>
            <p:spPr bwMode="auto">
              <a:xfrm>
                <a:off x="3841" y="1368"/>
                <a:ext cx="20" cy="16"/>
              </a:xfrm>
              <a:custGeom>
                <a:avLst/>
                <a:gdLst>
                  <a:gd name="T0" fmla="*/ 0 w 102"/>
                  <a:gd name="T1" fmla="*/ 0 h 78"/>
                  <a:gd name="T2" fmla="*/ 0 w 102"/>
                  <a:gd name="T3" fmla="*/ 0 h 78"/>
                  <a:gd name="T4" fmla="*/ 0 w 102"/>
                  <a:gd name="T5" fmla="*/ 0 h 78"/>
                  <a:gd name="T6" fmla="*/ 0 w 102"/>
                  <a:gd name="T7" fmla="*/ 0 h 78"/>
                  <a:gd name="T8" fmla="*/ 0 w 102"/>
                  <a:gd name="T9" fmla="*/ 0 h 78"/>
                  <a:gd name="T10" fmla="*/ 0 w 102"/>
                  <a:gd name="T11" fmla="*/ 0 h 78"/>
                  <a:gd name="T12" fmla="*/ 0 w 102"/>
                  <a:gd name="T13" fmla="*/ 0 h 78"/>
                  <a:gd name="T14" fmla="*/ 0 w 102"/>
                  <a:gd name="T15" fmla="*/ 0 h 78"/>
                  <a:gd name="T16" fmla="*/ 0 w 102"/>
                  <a:gd name="T17" fmla="*/ 0 h 78"/>
                  <a:gd name="T18" fmla="*/ 0 w 102"/>
                  <a:gd name="T19" fmla="*/ 0 h 78"/>
                  <a:gd name="T20" fmla="*/ 0 w 102"/>
                  <a:gd name="T21" fmla="*/ 0 h 78"/>
                  <a:gd name="T22" fmla="*/ 0 w 102"/>
                  <a:gd name="T23" fmla="*/ 0 h 78"/>
                  <a:gd name="T24" fmla="*/ 0 w 102"/>
                  <a:gd name="T25" fmla="*/ 0 h 78"/>
                  <a:gd name="T26" fmla="*/ 0 w 102"/>
                  <a:gd name="T27" fmla="*/ 0 h 78"/>
                  <a:gd name="T28" fmla="*/ 0 w 102"/>
                  <a:gd name="T29" fmla="*/ 0 h 78"/>
                  <a:gd name="T30" fmla="*/ 0 w 102"/>
                  <a:gd name="T31" fmla="*/ 0 h 78"/>
                  <a:gd name="T32" fmla="*/ 0 w 102"/>
                  <a:gd name="T33" fmla="*/ 0 h 78"/>
                  <a:gd name="T34" fmla="*/ 0 w 102"/>
                  <a:gd name="T35" fmla="*/ 0 h 78"/>
                  <a:gd name="T36" fmla="*/ 0 w 102"/>
                  <a:gd name="T37" fmla="*/ 0 h 78"/>
                  <a:gd name="T38" fmla="*/ 0 w 102"/>
                  <a:gd name="T39" fmla="*/ 0 h 78"/>
                  <a:gd name="T40" fmla="*/ 0 w 102"/>
                  <a:gd name="T41" fmla="*/ 0 h 78"/>
                  <a:gd name="T42" fmla="*/ 0 w 102"/>
                  <a:gd name="T43" fmla="*/ 0 h 78"/>
                  <a:gd name="T44" fmla="*/ 0 w 102"/>
                  <a:gd name="T45" fmla="*/ 0 h 78"/>
                  <a:gd name="T46" fmla="*/ 0 w 102"/>
                  <a:gd name="T47" fmla="*/ 0 h 78"/>
                  <a:gd name="T48" fmla="*/ 0 w 102"/>
                  <a:gd name="T49" fmla="*/ 0 h 78"/>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102"/>
                  <a:gd name="T76" fmla="*/ 0 h 78"/>
                  <a:gd name="T77" fmla="*/ 102 w 102"/>
                  <a:gd name="T78" fmla="*/ 78 h 78"/>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102" h="78">
                    <a:moveTo>
                      <a:pt x="35" y="0"/>
                    </a:moveTo>
                    <a:lnTo>
                      <a:pt x="25" y="0"/>
                    </a:lnTo>
                    <a:lnTo>
                      <a:pt x="12" y="3"/>
                    </a:lnTo>
                    <a:lnTo>
                      <a:pt x="4" y="13"/>
                    </a:lnTo>
                    <a:lnTo>
                      <a:pt x="0" y="23"/>
                    </a:lnTo>
                    <a:lnTo>
                      <a:pt x="0" y="33"/>
                    </a:lnTo>
                    <a:lnTo>
                      <a:pt x="0" y="45"/>
                    </a:lnTo>
                    <a:lnTo>
                      <a:pt x="10" y="59"/>
                    </a:lnTo>
                    <a:lnTo>
                      <a:pt x="23" y="66"/>
                    </a:lnTo>
                    <a:lnTo>
                      <a:pt x="31" y="72"/>
                    </a:lnTo>
                    <a:lnTo>
                      <a:pt x="46" y="76"/>
                    </a:lnTo>
                    <a:lnTo>
                      <a:pt x="52" y="78"/>
                    </a:lnTo>
                    <a:lnTo>
                      <a:pt x="67" y="78"/>
                    </a:lnTo>
                    <a:lnTo>
                      <a:pt x="77" y="78"/>
                    </a:lnTo>
                    <a:lnTo>
                      <a:pt x="85" y="73"/>
                    </a:lnTo>
                    <a:lnTo>
                      <a:pt x="95" y="68"/>
                    </a:lnTo>
                    <a:lnTo>
                      <a:pt x="102" y="59"/>
                    </a:lnTo>
                    <a:lnTo>
                      <a:pt x="102" y="43"/>
                    </a:lnTo>
                    <a:lnTo>
                      <a:pt x="102" y="33"/>
                    </a:lnTo>
                    <a:lnTo>
                      <a:pt x="94" y="24"/>
                    </a:lnTo>
                    <a:lnTo>
                      <a:pt x="85" y="14"/>
                    </a:lnTo>
                    <a:lnTo>
                      <a:pt x="74" y="9"/>
                    </a:lnTo>
                    <a:lnTo>
                      <a:pt x="61" y="3"/>
                    </a:lnTo>
                    <a:lnTo>
                      <a:pt x="46" y="0"/>
                    </a:lnTo>
                    <a:lnTo>
                      <a:pt x="35" y="0"/>
                    </a:lnTo>
                    <a:close/>
                  </a:path>
                </a:pathLst>
              </a:custGeom>
              <a:solidFill>
                <a:srgbClr val="9F9FBF"/>
              </a:solidFill>
              <a:ln w="9525">
                <a:noFill/>
                <a:round/>
                <a:headEnd/>
                <a:tailEnd/>
              </a:ln>
            </p:spPr>
            <p:txBody>
              <a:bodyPr/>
              <a:lstStyle/>
              <a:p>
                <a:endParaRPr lang="ja-JP" altLang="en-US" sz="1600" b="1">
                  <a:latin typeface="Times New Roman" charset="0"/>
                  <a:cs typeface="Times New Roman" charset="0"/>
                </a:endParaRPr>
              </a:p>
            </p:txBody>
          </p:sp>
          <p:sp>
            <p:nvSpPr>
              <p:cNvPr id="46256" name="Freeform 70"/>
              <p:cNvSpPr>
                <a:spLocks/>
              </p:cNvSpPr>
              <p:nvPr/>
            </p:nvSpPr>
            <p:spPr bwMode="auto">
              <a:xfrm>
                <a:off x="3841" y="1368"/>
                <a:ext cx="20" cy="16"/>
              </a:xfrm>
              <a:custGeom>
                <a:avLst/>
                <a:gdLst>
                  <a:gd name="T0" fmla="*/ 0 w 102"/>
                  <a:gd name="T1" fmla="*/ 0 h 78"/>
                  <a:gd name="T2" fmla="*/ 0 w 102"/>
                  <a:gd name="T3" fmla="*/ 0 h 78"/>
                  <a:gd name="T4" fmla="*/ 0 w 102"/>
                  <a:gd name="T5" fmla="*/ 0 h 78"/>
                  <a:gd name="T6" fmla="*/ 0 w 102"/>
                  <a:gd name="T7" fmla="*/ 0 h 78"/>
                  <a:gd name="T8" fmla="*/ 0 w 102"/>
                  <a:gd name="T9" fmla="*/ 0 h 78"/>
                  <a:gd name="T10" fmla="*/ 0 w 102"/>
                  <a:gd name="T11" fmla="*/ 0 h 78"/>
                  <a:gd name="T12" fmla="*/ 0 w 102"/>
                  <a:gd name="T13" fmla="*/ 0 h 78"/>
                  <a:gd name="T14" fmla="*/ 0 w 102"/>
                  <a:gd name="T15" fmla="*/ 0 h 78"/>
                  <a:gd name="T16" fmla="*/ 0 w 102"/>
                  <a:gd name="T17" fmla="*/ 0 h 78"/>
                  <a:gd name="T18" fmla="*/ 0 w 102"/>
                  <a:gd name="T19" fmla="*/ 0 h 78"/>
                  <a:gd name="T20" fmla="*/ 0 w 102"/>
                  <a:gd name="T21" fmla="*/ 0 h 78"/>
                  <a:gd name="T22" fmla="*/ 0 w 102"/>
                  <a:gd name="T23" fmla="*/ 0 h 78"/>
                  <a:gd name="T24" fmla="*/ 0 w 102"/>
                  <a:gd name="T25" fmla="*/ 0 h 78"/>
                  <a:gd name="T26" fmla="*/ 0 w 102"/>
                  <a:gd name="T27" fmla="*/ 0 h 78"/>
                  <a:gd name="T28" fmla="*/ 0 w 102"/>
                  <a:gd name="T29" fmla="*/ 0 h 78"/>
                  <a:gd name="T30" fmla="*/ 0 w 102"/>
                  <a:gd name="T31" fmla="*/ 0 h 78"/>
                  <a:gd name="T32" fmla="*/ 0 w 102"/>
                  <a:gd name="T33" fmla="*/ 0 h 78"/>
                  <a:gd name="T34" fmla="*/ 0 w 102"/>
                  <a:gd name="T35" fmla="*/ 0 h 78"/>
                  <a:gd name="T36" fmla="*/ 0 w 102"/>
                  <a:gd name="T37" fmla="*/ 0 h 78"/>
                  <a:gd name="T38" fmla="*/ 0 w 102"/>
                  <a:gd name="T39" fmla="*/ 0 h 78"/>
                  <a:gd name="T40" fmla="*/ 0 w 102"/>
                  <a:gd name="T41" fmla="*/ 0 h 78"/>
                  <a:gd name="T42" fmla="*/ 0 w 102"/>
                  <a:gd name="T43" fmla="*/ 0 h 78"/>
                  <a:gd name="T44" fmla="*/ 0 w 102"/>
                  <a:gd name="T45" fmla="*/ 0 h 78"/>
                  <a:gd name="T46" fmla="*/ 0 w 102"/>
                  <a:gd name="T47" fmla="*/ 0 h 78"/>
                  <a:gd name="T48" fmla="*/ 0 w 102"/>
                  <a:gd name="T49" fmla="*/ 0 h 78"/>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102"/>
                  <a:gd name="T76" fmla="*/ 0 h 78"/>
                  <a:gd name="T77" fmla="*/ 102 w 102"/>
                  <a:gd name="T78" fmla="*/ 78 h 78"/>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102" h="78">
                    <a:moveTo>
                      <a:pt x="35" y="0"/>
                    </a:moveTo>
                    <a:lnTo>
                      <a:pt x="25" y="0"/>
                    </a:lnTo>
                    <a:lnTo>
                      <a:pt x="12" y="3"/>
                    </a:lnTo>
                    <a:lnTo>
                      <a:pt x="4" y="13"/>
                    </a:lnTo>
                    <a:lnTo>
                      <a:pt x="0" y="23"/>
                    </a:lnTo>
                    <a:lnTo>
                      <a:pt x="0" y="33"/>
                    </a:lnTo>
                    <a:lnTo>
                      <a:pt x="0" y="45"/>
                    </a:lnTo>
                    <a:lnTo>
                      <a:pt x="10" y="59"/>
                    </a:lnTo>
                    <a:lnTo>
                      <a:pt x="23" y="66"/>
                    </a:lnTo>
                    <a:lnTo>
                      <a:pt x="31" y="72"/>
                    </a:lnTo>
                    <a:lnTo>
                      <a:pt x="46" y="76"/>
                    </a:lnTo>
                    <a:lnTo>
                      <a:pt x="52" y="78"/>
                    </a:lnTo>
                    <a:lnTo>
                      <a:pt x="67" y="78"/>
                    </a:lnTo>
                    <a:lnTo>
                      <a:pt x="77" y="78"/>
                    </a:lnTo>
                    <a:lnTo>
                      <a:pt x="85" y="73"/>
                    </a:lnTo>
                    <a:lnTo>
                      <a:pt x="95" y="68"/>
                    </a:lnTo>
                    <a:lnTo>
                      <a:pt x="102" y="59"/>
                    </a:lnTo>
                    <a:lnTo>
                      <a:pt x="102" y="43"/>
                    </a:lnTo>
                    <a:lnTo>
                      <a:pt x="102" y="33"/>
                    </a:lnTo>
                    <a:lnTo>
                      <a:pt x="94" y="24"/>
                    </a:lnTo>
                    <a:lnTo>
                      <a:pt x="85" y="14"/>
                    </a:lnTo>
                    <a:lnTo>
                      <a:pt x="74" y="9"/>
                    </a:lnTo>
                    <a:lnTo>
                      <a:pt x="61" y="3"/>
                    </a:lnTo>
                    <a:lnTo>
                      <a:pt x="46" y="0"/>
                    </a:lnTo>
                    <a:lnTo>
                      <a:pt x="35" y="0"/>
                    </a:lnTo>
                    <a:close/>
                  </a:path>
                </a:pathLst>
              </a:custGeom>
              <a:noFill/>
              <a:ln w="3175">
                <a:solidFill>
                  <a:srgbClr val="000000"/>
                </a:solidFill>
                <a:round/>
                <a:headEnd/>
                <a:tailEnd/>
              </a:ln>
            </p:spPr>
            <p:txBody>
              <a:bodyPr/>
              <a:lstStyle/>
              <a:p>
                <a:endParaRPr lang="ja-JP" altLang="en-US" sz="1600" b="1">
                  <a:latin typeface="Times New Roman" charset="0"/>
                  <a:cs typeface="Times New Roman" charset="0"/>
                </a:endParaRPr>
              </a:p>
            </p:txBody>
          </p:sp>
          <p:sp>
            <p:nvSpPr>
              <p:cNvPr id="46257" name="Freeform 71"/>
              <p:cNvSpPr>
                <a:spLocks/>
              </p:cNvSpPr>
              <p:nvPr/>
            </p:nvSpPr>
            <p:spPr bwMode="auto">
              <a:xfrm>
                <a:off x="3745" y="1272"/>
                <a:ext cx="114" cy="106"/>
              </a:xfrm>
              <a:custGeom>
                <a:avLst/>
                <a:gdLst>
                  <a:gd name="T0" fmla="*/ 0 w 571"/>
                  <a:gd name="T1" fmla="*/ 0 h 527"/>
                  <a:gd name="T2" fmla="*/ 0 w 571"/>
                  <a:gd name="T3" fmla="*/ 0 h 527"/>
                  <a:gd name="T4" fmla="*/ 0 w 571"/>
                  <a:gd name="T5" fmla="*/ 0 h 527"/>
                  <a:gd name="T6" fmla="*/ 0 w 571"/>
                  <a:gd name="T7" fmla="*/ 0 h 527"/>
                  <a:gd name="T8" fmla="*/ 0 w 571"/>
                  <a:gd name="T9" fmla="*/ 0 h 527"/>
                  <a:gd name="T10" fmla="*/ 0 60000 65536"/>
                  <a:gd name="T11" fmla="*/ 0 60000 65536"/>
                  <a:gd name="T12" fmla="*/ 0 60000 65536"/>
                  <a:gd name="T13" fmla="*/ 0 60000 65536"/>
                  <a:gd name="T14" fmla="*/ 0 60000 65536"/>
                  <a:gd name="T15" fmla="*/ 0 w 571"/>
                  <a:gd name="T16" fmla="*/ 0 h 527"/>
                  <a:gd name="T17" fmla="*/ 571 w 571"/>
                  <a:gd name="T18" fmla="*/ 527 h 527"/>
                </a:gdLst>
                <a:ahLst/>
                <a:cxnLst>
                  <a:cxn ang="T10">
                    <a:pos x="T0" y="T1"/>
                  </a:cxn>
                  <a:cxn ang="T11">
                    <a:pos x="T2" y="T3"/>
                  </a:cxn>
                  <a:cxn ang="T12">
                    <a:pos x="T4" y="T5"/>
                  </a:cxn>
                  <a:cxn ang="T13">
                    <a:pos x="T6" y="T7"/>
                  </a:cxn>
                  <a:cxn ang="T14">
                    <a:pos x="T8" y="T9"/>
                  </a:cxn>
                </a:cxnLst>
                <a:rect l="T15" t="T16" r="T17" b="T18"/>
                <a:pathLst>
                  <a:path w="571" h="527">
                    <a:moveTo>
                      <a:pt x="571" y="521"/>
                    </a:moveTo>
                    <a:lnTo>
                      <a:pt x="18" y="0"/>
                    </a:lnTo>
                    <a:lnTo>
                      <a:pt x="0" y="11"/>
                    </a:lnTo>
                    <a:lnTo>
                      <a:pt x="521" y="527"/>
                    </a:lnTo>
                    <a:lnTo>
                      <a:pt x="571" y="521"/>
                    </a:lnTo>
                    <a:close/>
                  </a:path>
                </a:pathLst>
              </a:custGeom>
              <a:solidFill>
                <a:srgbClr val="C0C0C0"/>
              </a:solidFill>
              <a:ln w="9525">
                <a:noFill/>
                <a:round/>
                <a:headEnd/>
                <a:tailEnd/>
              </a:ln>
            </p:spPr>
            <p:txBody>
              <a:bodyPr/>
              <a:lstStyle/>
              <a:p>
                <a:endParaRPr lang="ja-JP" altLang="en-US" sz="1600" b="1">
                  <a:latin typeface="Times New Roman" charset="0"/>
                  <a:cs typeface="Times New Roman" charset="0"/>
                </a:endParaRPr>
              </a:p>
            </p:txBody>
          </p:sp>
          <p:sp>
            <p:nvSpPr>
              <p:cNvPr id="46258" name="Freeform 72"/>
              <p:cNvSpPr>
                <a:spLocks/>
              </p:cNvSpPr>
              <p:nvPr/>
            </p:nvSpPr>
            <p:spPr bwMode="auto">
              <a:xfrm>
                <a:off x="3745" y="1272"/>
                <a:ext cx="114" cy="106"/>
              </a:xfrm>
              <a:custGeom>
                <a:avLst/>
                <a:gdLst>
                  <a:gd name="T0" fmla="*/ 0 w 571"/>
                  <a:gd name="T1" fmla="*/ 0 h 527"/>
                  <a:gd name="T2" fmla="*/ 0 w 571"/>
                  <a:gd name="T3" fmla="*/ 0 h 527"/>
                  <a:gd name="T4" fmla="*/ 0 w 571"/>
                  <a:gd name="T5" fmla="*/ 0 h 527"/>
                  <a:gd name="T6" fmla="*/ 0 w 571"/>
                  <a:gd name="T7" fmla="*/ 0 h 527"/>
                  <a:gd name="T8" fmla="*/ 0 w 571"/>
                  <a:gd name="T9" fmla="*/ 0 h 527"/>
                  <a:gd name="T10" fmla="*/ 0 60000 65536"/>
                  <a:gd name="T11" fmla="*/ 0 60000 65536"/>
                  <a:gd name="T12" fmla="*/ 0 60000 65536"/>
                  <a:gd name="T13" fmla="*/ 0 60000 65536"/>
                  <a:gd name="T14" fmla="*/ 0 60000 65536"/>
                  <a:gd name="T15" fmla="*/ 0 w 571"/>
                  <a:gd name="T16" fmla="*/ 0 h 527"/>
                  <a:gd name="T17" fmla="*/ 571 w 571"/>
                  <a:gd name="T18" fmla="*/ 527 h 527"/>
                </a:gdLst>
                <a:ahLst/>
                <a:cxnLst>
                  <a:cxn ang="T10">
                    <a:pos x="T0" y="T1"/>
                  </a:cxn>
                  <a:cxn ang="T11">
                    <a:pos x="T2" y="T3"/>
                  </a:cxn>
                  <a:cxn ang="T12">
                    <a:pos x="T4" y="T5"/>
                  </a:cxn>
                  <a:cxn ang="T13">
                    <a:pos x="T6" y="T7"/>
                  </a:cxn>
                  <a:cxn ang="T14">
                    <a:pos x="T8" y="T9"/>
                  </a:cxn>
                </a:cxnLst>
                <a:rect l="T15" t="T16" r="T17" b="T18"/>
                <a:pathLst>
                  <a:path w="571" h="527">
                    <a:moveTo>
                      <a:pt x="571" y="521"/>
                    </a:moveTo>
                    <a:lnTo>
                      <a:pt x="18" y="0"/>
                    </a:lnTo>
                    <a:lnTo>
                      <a:pt x="0" y="11"/>
                    </a:lnTo>
                    <a:lnTo>
                      <a:pt x="521" y="527"/>
                    </a:lnTo>
                    <a:lnTo>
                      <a:pt x="571" y="521"/>
                    </a:lnTo>
                    <a:close/>
                  </a:path>
                </a:pathLst>
              </a:custGeom>
              <a:noFill/>
              <a:ln w="3175">
                <a:solidFill>
                  <a:srgbClr val="000000"/>
                </a:solidFill>
                <a:round/>
                <a:headEnd/>
                <a:tailEnd/>
              </a:ln>
            </p:spPr>
            <p:txBody>
              <a:bodyPr/>
              <a:lstStyle/>
              <a:p>
                <a:endParaRPr lang="ja-JP" altLang="en-US" sz="1600" b="1">
                  <a:latin typeface="Times New Roman" charset="0"/>
                  <a:cs typeface="Times New Roman" charset="0"/>
                </a:endParaRPr>
              </a:p>
            </p:txBody>
          </p:sp>
          <p:sp>
            <p:nvSpPr>
              <p:cNvPr id="46259" name="Freeform 73"/>
              <p:cNvSpPr>
                <a:spLocks/>
              </p:cNvSpPr>
              <p:nvPr/>
            </p:nvSpPr>
            <p:spPr bwMode="auto">
              <a:xfrm>
                <a:off x="3916" y="1209"/>
                <a:ext cx="15" cy="125"/>
              </a:xfrm>
              <a:custGeom>
                <a:avLst/>
                <a:gdLst>
                  <a:gd name="T0" fmla="*/ 0 w 75"/>
                  <a:gd name="T1" fmla="*/ 0 h 623"/>
                  <a:gd name="T2" fmla="*/ 0 w 75"/>
                  <a:gd name="T3" fmla="*/ 0 h 623"/>
                  <a:gd name="T4" fmla="*/ 0 w 75"/>
                  <a:gd name="T5" fmla="*/ 0 h 623"/>
                  <a:gd name="T6" fmla="*/ 0 w 75"/>
                  <a:gd name="T7" fmla="*/ 0 h 623"/>
                  <a:gd name="T8" fmla="*/ 0 w 75"/>
                  <a:gd name="T9" fmla="*/ 0 h 623"/>
                  <a:gd name="T10" fmla="*/ 0 60000 65536"/>
                  <a:gd name="T11" fmla="*/ 0 60000 65536"/>
                  <a:gd name="T12" fmla="*/ 0 60000 65536"/>
                  <a:gd name="T13" fmla="*/ 0 60000 65536"/>
                  <a:gd name="T14" fmla="*/ 0 60000 65536"/>
                  <a:gd name="T15" fmla="*/ 0 w 75"/>
                  <a:gd name="T16" fmla="*/ 0 h 623"/>
                  <a:gd name="T17" fmla="*/ 75 w 75"/>
                  <a:gd name="T18" fmla="*/ 623 h 623"/>
                </a:gdLst>
                <a:ahLst/>
                <a:cxnLst>
                  <a:cxn ang="T10">
                    <a:pos x="T0" y="T1"/>
                  </a:cxn>
                  <a:cxn ang="T11">
                    <a:pos x="T2" y="T3"/>
                  </a:cxn>
                  <a:cxn ang="T12">
                    <a:pos x="T4" y="T5"/>
                  </a:cxn>
                  <a:cxn ang="T13">
                    <a:pos x="T6" y="T7"/>
                  </a:cxn>
                  <a:cxn ang="T14">
                    <a:pos x="T8" y="T9"/>
                  </a:cxn>
                </a:cxnLst>
                <a:rect l="T15" t="T16" r="T17" b="T18"/>
                <a:pathLst>
                  <a:path w="75" h="623">
                    <a:moveTo>
                      <a:pt x="0" y="618"/>
                    </a:moveTo>
                    <a:lnTo>
                      <a:pt x="43" y="623"/>
                    </a:lnTo>
                    <a:lnTo>
                      <a:pt x="75" y="0"/>
                    </a:lnTo>
                    <a:lnTo>
                      <a:pt x="56" y="6"/>
                    </a:lnTo>
                    <a:lnTo>
                      <a:pt x="0" y="618"/>
                    </a:lnTo>
                    <a:close/>
                  </a:path>
                </a:pathLst>
              </a:custGeom>
              <a:solidFill>
                <a:srgbClr val="C0C0C0"/>
              </a:solidFill>
              <a:ln w="9525">
                <a:noFill/>
                <a:round/>
                <a:headEnd/>
                <a:tailEnd/>
              </a:ln>
            </p:spPr>
            <p:txBody>
              <a:bodyPr/>
              <a:lstStyle/>
              <a:p>
                <a:endParaRPr lang="ja-JP" altLang="en-US" sz="1600" b="1">
                  <a:latin typeface="Times New Roman" charset="0"/>
                  <a:cs typeface="Times New Roman" charset="0"/>
                </a:endParaRPr>
              </a:p>
            </p:txBody>
          </p:sp>
          <p:sp>
            <p:nvSpPr>
              <p:cNvPr id="46260" name="Freeform 74"/>
              <p:cNvSpPr>
                <a:spLocks/>
              </p:cNvSpPr>
              <p:nvPr/>
            </p:nvSpPr>
            <p:spPr bwMode="auto">
              <a:xfrm>
                <a:off x="3916" y="1209"/>
                <a:ext cx="15" cy="125"/>
              </a:xfrm>
              <a:custGeom>
                <a:avLst/>
                <a:gdLst>
                  <a:gd name="T0" fmla="*/ 0 w 75"/>
                  <a:gd name="T1" fmla="*/ 0 h 623"/>
                  <a:gd name="T2" fmla="*/ 0 w 75"/>
                  <a:gd name="T3" fmla="*/ 0 h 623"/>
                  <a:gd name="T4" fmla="*/ 0 w 75"/>
                  <a:gd name="T5" fmla="*/ 0 h 623"/>
                  <a:gd name="T6" fmla="*/ 0 w 75"/>
                  <a:gd name="T7" fmla="*/ 0 h 623"/>
                  <a:gd name="T8" fmla="*/ 0 w 75"/>
                  <a:gd name="T9" fmla="*/ 0 h 623"/>
                  <a:gd name="T10" fmla="*/ 0 60000 65536"/>
                  <a:gd name="T11" fmla="*/ 0 60000 65536"/>
                  <a:gd name="T12" fmla="*/ 0 60000 65536"/>
                  <a:gd name="T13" fmla="*/ 0 60000 65536"/>
                  <a:gd name="T14" fmla="*/ 0 60000 65536"/>
                  <a:gd name="T15" fmla="*/ 0 w 75"/>
                  <a:gd name="T16" fmla="*/ 0 h 623"/>
                  <a:gd name="T17" fmla="*/ 75 w 75"/>
                  <a:gd name="T18" fmla="*/ 623 h 623"/>
                </a:gdLst>
                <a:ahLst/>
                <a:cxnLst>
                  <a:cxn ang="T10">
                    <a:pos x="T0" y="T1"/>
                  </a:cxn>
                  <a:cxn ang="T11">
                    <a:pos x="T2" y="T3"/>
                  </a:cxn>
                  <a:cxn ang="T12">
                    <a:pos x="T4" y="T5"/>
                  </a:cxn>
                  <a:cxn ang="T13">
                    <a:pos x="T6" y="T7"/>
                  </a:cxn>
                  <a:cxn ang="T14">
                    <a:pos x="T8" y="T9"/>
                  </a:cxn>
                </a:cxnLst>
                <a:rect l="T15" t="T16" r="T17" b="T18"/>
                <a:pathLst>
                  <a:path w="75" h="623">
                    <a:moveTo>
                      <a:pt x="0" y="618"/>
                    </a:moveTo>
                    <a:lnTo>
                      <a:pt x="43" y="623"/>
                    </a:lnTo>
                    <a:lnTo>
                      <a:pt x="75" y="0"/>
                    </a:lnTo>
                    <a:lnTo>
                      <a:pt x="56" y="6"/>
                    </a:lnTo>
                    <a:lnTo>
                      <a:pt x="0" y="618"/>
                    </a:lnTo>
                    <a:close/>
                  </a:path>
                </a:pathLst>
              </a:custGeom>
              <a:noFill/>
              <a:ln w="3175">
                <a:solidFill>
                  <a:srgbClr val="000000"/>
                </a:solidFill>
                <a:round/>
                <a:headEnd/>
                <a:tailEnd/>
              </a:ln>
            </p:spPr>
            <p:txBody>
              <a:bodyPr/>
              <a:lstStyle/>
              <a:p>
                <a:endParaRPr lang="ja-JP" altLang="en-US" sz="1600" b="1">
                  <a:latin typeface="Times New Roman" charset="0"/>
                  <a:cs typeface="Times New Roman" charset="0"/>
                </a:endParaRPr>
              </a:p>
            </p:txBody>
          </p:sp>
          <p:sp>
            <p:nvSpPr>
              <p:cNvPr id="46261" name="Freeform 75"/>
              <p:cNvSpPr>
                <a:spLocks/>
              </p:cNvSpPr>
              <p:nvPr/>
            </p:nvSpPr>
            <p:spPr bwMode="auto">
              <a:xfrm>
                <a:off x="3994" y="1335"/>
                <a:ext cx="150" cy="53"/>
              </a:xfrm>
              <a:custGeom>
                <a:avLst/>
                <a:gdLst>
                  <a:gd name="T0" fmla="*/ 0 w 752"/>
                  <a:gd name="T1" fmla="*/ 0 h 264"/>
                  <a:gd name="T2" fmla="*/ 0 w 752"/>
                  <a:gd name="T3" fmla="*/ 0 h 264"/>
                  <a:gd name="T4" fmla="*/ 0 w 752"/>
                  <a:gd name="T5" fmla="*/ 0 h 264"/>
                  <a:gd name="T6" fmla="*/ 0 w 752"/>
                  <a:gd name="T7" fmla="*/ 0 h 264"/>
                  <a:gd name="T8" fmla="*/ 0 w 752"/>
                  <a:gd name="T9" fmla="*/ 0 h 264"/>
                  <a:gd name="T10" fmla="*/ 0 60000 65536"/>
                  <a:gd name="T11" fmla="*/ 0 60000 65536"/>
                  <a:gd name="T12" fmla="*/ 0 60000 65536"/>
                  <a:gd name="T13" fmla="*/ 0 60000 65536"/>
                  <a:gd name="T14" fmla="*/ 0 60000 65536"/>
                  <a:gd name="T15" fmla="*/ 0 w 752"/>
                  <a:gd name="T16" fmla="*/ 0 h 264"/>
                  <a:gd name="T17" fmla="*/ 752 w 752"/>
                  <a:gd name="T18" fmla="*/ 264 h 264"/>
                </a:gdLst>
                <a:ahLst/>
                <a:cxnLst>
                  <a:cxn ang="T10">
                    <a:pos x="T0" y="T1"/>
                  </a:cxn>
                  <a:cxn ang="T11">
                    <a:pos x="T2" y="T3"/>
                  </a:cxn>
                  <a:cxn ang="T12">
                    <a:pos x="T4" y="T5"/>
                  </a:cxn>
                  <a:cxn ang="T13">
                    <a:pos x="T6" y="T7"/>
                  </a:cxn>
                  <a:cxn ang="T14">
                    <a:pos x="T8" y="T9"/>
                  </a:cxn>
                </a:cxnLst>
                <a:rect l="T15" t="T16" r="T17" b="T18"/>
                <a:pathLst>
                  <a:path w="752" h="264">
                    <a:moveTo>
                      <a:pt x="0" y="229"/>
                    </a:moveTo>
                    <a:lnTo>
                      <a:pt x="13" y="264"/>
                    </a:lnTo>
                    <a:lnTo>
                      <a:pt x="752" y="17"/>
                    </a:lnTo>
                    <a:lnTo>
                      <a:pt x="747" y="0"/>
                    </a:lnTo>
                    <a:lnTo>
                      <a:pt x="0" y="229"/>
                    </a:lnTo>
                    <a:close/>
                  </a:path>
                </a:pathLst>
              </a:custGeom>
              <a:solidFill>
                <a:srgbClr val="C0C0C0"/>
              </a:solidFill>
              <a:ln w="9525">
                <a:noFill/>
                <a:round/>
                <a:headEnd/>
                <a:tailEnd/>
              </a:ln>
            </p:spPr>
            <p:txBody>
              <a:bodyPr/>
              <a:lstStyle/>
              <a:p>
                <a:endParaRPr lang="ja-JP" altLang="en-US" sz="1600" b="1">
                  <a:latin typeface="Times New Roman" charset="0"/>
                  <a:cs typeface="Times New Roman" charset="0"/>
                </a:endParaRPr>
              </a:p>
            </p:txBody>
          </p:sp>
          <p:sp>
            <p:nvSpPr>
              <p:cNvPr id="46262" name="Freeform 76"/>
              <p:cNvSpPr>
                <a:spLocks/>
              </p:cNvSpPr>
              <p:nvPr/>
            </p:nvSpPr>
            <p:spPr bwMode="auto">
              <a:xfrm>
                <a:off x="3994" y="1335"/>
                <a:ext cx="150" cy="53"/>
              </a:xfrm>
              <a:custGeom>
                <a:avLst/>
                <a:gdLst>
                  <a:gd name="T0" fmla="*/ 0 w 752"/>
                  <a:gd name="T1" fmla="*/ 0 h 264"/>
                  <a:gd name="T2" fmla="*/ 0 w 752"/>
                  <a:gd name="T3" fmla="*/ 0 h 264"/>
                  <a:gd name="T4" fmla="*/ 0 w 752"/>
                  <a:gd name="T5" fmla="*/ 0 h 264"/>
                  <a:gd name="T6" fmla="*/ 0 w 752"/>
                  <a:gd name="T7" fmla="*/ 0 h 264"/>
                  <a:gd name="T8" fmla="*/ 0 w 752"/>
                  <a:gd name="T9" fmla="*/ 0 h 264"/>
                  <a:gd name="T10" fmla="*/ 0 60000 65536"/>
                  <a:gd name="T11" fmla="*/ 0 60000 65536"/>
                  <a:gd name="T12" fmla="*/ 0 60000 65536"/>
                  <a:gd name="T13" fmla="*/ 0 60000 65536"/>
                  <a:gd name="T14" fmla="*/ 0 60000 65536"/>
                  <a:gd name="T15" fmla="*/ 0 w 752"/>
                  <a:gd name="T16" fmla="*/ 0 h 264"/>
                  <a:gd name="T17" fmla="*/ 752 w 752"/>
                  <a:gd name="T18" fmla="*/ 264 h 264"/>
                </a:gdLst>
                <a:ahLst/>
                <a:cxnLst>
                  <a:cxn ang="T10">
                    <a:pos x="T0" y="T1"/>
                  </a:cxn>
                  <a:cxn ang="T11">
                    <a:pos x="T2" y="T3"/>
                  </a:cxn>
                  <a:cxn ang="T12">
                    <a:pos x="T4" y="T5"/>
                  </a:cxn>
                  <a:cxn ang="T13">
                    <a:pos x="T6" y="T7"/>
                  </a:cxn>
                  <a:cxn ang="T14">
                    <a:pos x="T8" y="T9"/>
                  </a:cxn>
                </a:cxnLst>
                <a:rect l="T15" t="T16" r="T17" b="T18"/>
                <a:pathLst>
                  <a:path w="752" h="264">
                    <a:moveTo>
                      <a:pt x="0" y="229"/>
                    </a:moveTo>
                    <a:lnTo>
                      <a:pt x="13" y="264"/>
                    </a:lnTo>
                    <a:lnTo>
                      <a:pt x="752" y="17"/>
                    </a:lnTo>
                    <a:lnTo>
                      <a:pt x="747" y="0"/>
                    </a:lnTo>
                    <a:lnTo>
                      <a:pt x="0" y="229"/>
                    </a:lnTo>
                    <a:close/>
                  </a:path>
                </a:pathLst>
              </a:custGeom>
              <a:noFill/>
              <a:ln w="3175">
                <a:solidFill>
                  <a:srgbClr val="000000"/>
                </a:solidFill>
                <a:round/>
                <a:headEnd/>
                <a:tailEnd/>
              </a:ln>
            </p:spPr>
            <p:txBody>
              <a:bodyPr/>
              <a:lstStyle/>
              <a:p>
                <a:endParaRPr lang="ja-JP" altLang="en-US" sz="1600" b="1">
                  <a:latin typeface="Times New Roman" charset="0"/>
                  <a:cs typeface="Times New Roman" charset="0"/>
                </a:endParaRPr>
              </a:p>
            </p:txBody>
          </p:sp>
          <p:sp>
            <p:nvSpPr>
              <p:cNvPr id="46263" name="Freeform 77"/>
              <p:cNvSpPr>
                <a:spLocks/>
              </p:cNvSpPr>
              <p:nvPr/>
            </p:nvSpPr>
            <p:spPr bwMode="auto">
              <a:xfrm>
                <a:off x="3938" y="1430"/>
                <a:ext cx="130" cy="23"/>
              </a:xfrm>
              <a:custGeom>
                <a:avLst/>
                <a:gdLst>
                  <a:gd name="T0" fmla="*/ 0 w 653"/>
                  <a:gd name="T1" fmla="*/ 0 h 115"/>
                  <a:gd name="T2" fmla="*/ 0 w 653"/>
                  <a:gd name="T3" fmla="*/ 0 h 115"/>
                  <a:gd name="T4" fmla="*/ 0 w 653"/>
                  <a:gd name="T5" fmla="*/ 0 h 115"/>
                  <a:gd name="T6" fmla="*/ 0 w 653"/>
                  <a:gd name="T7" fmla="*/ 0 h 115"/>
                  <a:gd name="T8" fmla="*/ 0 w 653"/>
                  <a:gd name="T9" fmla="*/ 0 h 115"/>
                  <a:gd name="T10" fmla="*/ 0 60000 65536"/>
                  <a:gd name="T11" fmla="*/ 0 60000 65536"/>
                  <a:gd name="T12" fmla="*/ 0 60000 65536"/>
                  <a:gd name="T13" fmla="*/ 0 60000 65536"/>
                  <a:gd name="T14" fmla="*/ 0 60000 65536"/>
                  <a:gd name="T15" fmla="*/ 0 w 653"/>
                  <a:gd name="T16" fmla="*/ 0 h 115"/>
                  <a:gd name="T17" fmla="*/ 653 w 653"/>
                  <a:gd name="T18" fmla="*/ 115 h 115"/>
                </a:gdLst>
                <a:ahLst/>
                <a:cxnLst>
                  <a:cxn ang="T10">
                    <a:pos x="T0" y="T1"/>
                  </a:cxn>
                  <a:cxn ang="T11">
                    <a:pos x="T2" y="T3"/>
                  </a:cxn>
                  <a:cxn ang="T12">
                    <a:pos x="T4" y="T5"/>
                  </a:cxn>
                  <a:cxn ang="T13">
                    <a:pos x="T6" y="T7"/>
                  </a:cxn>
                  <a:cxn ang="T14">
                    <a:pos x="T8" y="T9"/>
                  </a:cxn>
                </a:cxnLst>
                <a:rect l="T15" t="T16" r="T17" b="T18"/>
                <a:pathLst>
                  <a:path w="653" h="115">
                    <a:moveTo>
                      <a:pt x="19" y="0"/>
                    </a:moveTo>
                    <a:lnTo>
                      <a:pt x="0" y="28"/>
                    </a:lnTo>
                    <a:lnTo>
                      <a:pt x="647" y="115"/>
                    </a:lnTo>
                    <a:lnTo>
                      <a:pt x="653" y="98"/>
                    </a:lnTo>
                    <a:lnTo>
                      <a:pt x="19" y="0"/>
                    </a:lnTo>
                    <a:close/>
                  </a:path>
                </a:pathLst>
              </a:custGeom>
              <a:solidFill>
                <a:srgbClr val="C0C0C0"/>
              </a:solidFill>
              <a:ln w="9525">
                <a:noFill/>
                <a:round/>
                <a:headEnd/>
                <a:tailEnd/>
              </a:ln>
            </p:spPr>
            <p:txBody>
              <a:bodyPr/>
              <a:lstStyle/>
              <a:p>
                <a:endParaRPr lang="ja-JP" altLang="en-US" sz="1600" b="1">
                  <a:latin typeface="Times New Roman" charset="0"/>
                  <a:cs typeface="Times New Roman" charset="0"/>
                </a:endParaRPr>
              </a:p>
            </p:txBody>
          </p:sp>
          <p:sp>
            <p:nvSpPr>
              <p:cNvPr id="46264" name="Freeform 78"/>
              <p:cNvSpPr>
                <a:spLocks/>
              </p:cNvSpPr>
              <p:nvPr/>
            </p:nvSpPr>
            <p:spPr bwMode="auto">
              <a:xfrm>
                <a:off x="3938" y="1430"/>
                <a:ext cx="130" cy="23"/>
              </a:xfrm>
              <a:custGeom>
                <a:avLst/>
                <a:gdLst>
                  <a:gd name="T0" fmla="*/ 0 w 653"/>
                  <a:gd name="T1" fmla="*/ 0 h 115"/>
                  <a:gd name="T2" fmla="*/ 0 w 653"/>
                  <a:gd name="T3" fmla="*/ 0 h 115"/>
                  <a:gd name="T4" fmla="*/ 0 w 653"/>
                  <a:gd name="T5" fmla="*/ 0 h 115"/>
                  <a:gd name="T6" fmla="*/ 0 w 653"/>
                  <a:gd name="T7" fmla="*/ 0 h 115"/>
                  <a:gd name="T8" fmla="*/ 0 w 653"/>
                  <a:gd name="T9" fmla="*/ 0 h 115"/>
                  <a:gd name="T10" fmla="*/ 0 60000 65536"/>
                  <a:gd name="T11" fmla="*/ 0 60000 65536"/>
                  <a:gd name="T12" fmla="*/ 0 60000 65536"/>
                  <a:gd name="T13" fmla="*/ 0 60000 65536"/>
                  <a:gd name="T14" fmla="*/ 0 60000 65536"/>
                  <a:gd name="T15" fmla="*/ 0 w 653"/>
                  <a:gd name="T16" fmla="*/ 0 h 115"/>
                  <a:gd name="T17" fmla="*/ 653 w 653"/>
                  <a:gd name="T18" fmla="*/ 115 h 115"/>
                </a:gdLst>
                <a:ahLst/>
                <a:cxnLst>
                  <a:cxn ang="T10">
                    <a:pos x="T0" y="T1"/>
                  </a:cxn>
                  <a:cxn ang="T11">
                    <a:pos x="T2" y="T3"/>
                  </a:cxn>
                  <a:cxn ang="T12">
                    <a:pos x="T4" y="T5"/>
                  </a:cxn>
                  <a:cxn ang="T13">
                    <a:pos x="T6" y="T7"/>
                  </a:cxn>
                  <a:cxn ang="T14">
                    <a:pos x="T8" y="T9"/>
                  </a:cxn>
                </a:cxnLst>
                <a:rect l="T15" t="T16" r="T17" b="T18"/>
                <a:pathLst>
                  <a:path w="653" h="115">
                    <a:moveTo>
                      <a:pt x="19" y="0"/>
                    </a:moveTo>
                    <a:lnTo>
                      <a:pt x="0" y="28"/>
                    </a:lnTo>
                    <a:lnTo>
                      <a:pt x="647" y="115"/>
                    </a:lnTo>
                    <a:lnTo>
                      <a:pt x="653" y="98"/>
                    </a:lnTo>
                    <a:lnTo>
                      <a:pt x="19" y="0"/>
                    </a:lnTo>
                    <a:close/>
                  </a:path>
                </a:pathLst>
              </a:custGeom>
              <a:noFill/>
              <a:ln w="3175">
                <a:solidFill>
                  <a:srgbClr val="000000"/>
                </a:solidFill>
                <a:round/>
                <a:headEnd/>
                <a:tailEnd/>
              </a:ln>
            </p:spPr>
            <p:txBody>
              <a:bodyPr/>
              <a:lstStyle/>
              <a:p>
                <a:endParaRPr lang="ja-JP" altLang="en-US" sz="1600" b="1">
                  <a:latin typeface="Times New Roman" charset="0"/>
                  <a:cs typeface="Times New Roman" charset="0"/>
                </a:endParaRPr>
              </a:p>
            </p:txBody>
          </p:sp>
        </p:grpSp>
        <p:grpSp>
          <p:nvGrpSpPr>
            <p:cNvPr id="8" name="Group 79"/>
            <p:cNvGrpSpPr>
              <a:grpSpLocks/>
            </p:cNvGrpSpPr>
            <p:nvPr/>
          </p:nvGrpSpPr>
          <p:grpSpPr bwMode="auto">
            <a:xfrm>
              <a:off x="2245" y="1209"/>
              <a:ext cx="768" cy="326"/>
              <a:chOff x="2245" y="1209"/>
              <a:chExt cx="768" cy="326"/>
            </a:xfrm>
          </p:grpSpPr>
          <p:sp>
            <p:nvSpPr>
              <p:cNvPr id="46170" name="Text Box 80"/>
              <p:cNvSpPr txBox="1">
                <a:spLocks noChangeArrowheads="1"/>
              </p:cNvSpPr>
              <p:nvPr/>
            </p:nvSpPr>
            <p:spPr bwMode="auto">
              <a:xfrm>
                <a:off x="2245" y="1298"/>
                <a:ext cx="362" cy="220"/>
              </a:xfrm>
              <a:prstGeom prst="rect">
                <a:avLst/>
              </a:prstGeom>
              <a:noFill/>
              <a:ln w="9525">
                <a:noFill/>
                <a:miter lim="800000"/>
                <a:headEnd/>
                <a:tailEnd/>
              </a:ln>
            </p:spPr>
            <p:txBody>
              <a:bodyPr>
                <a:spAutoFit/>
              </a:bodyPr>
              <a:lstStyle/>
              <a:p>
                <a:pPr algn="ctr"/>
                <a:r>
                  <a:rPr lang="en-US" altLang="ja-JP" sz="1600" b="1">
                    <a:latin typeface="Times New Roman" charset="0"/>
                    <a:cs typeface="Times New Roman" charset="0"/>
                  </a:rPr>
                  <a:t>GPS</a:t>
                </a:r>
              </a:p>
            </p:txBody>
          </p:sp>
          <p:grpSp>
            <p:nvGrpSpPr>
              <p:cNvPr id="9" name="Group 81"/>
              <p:cNvGrpSpPr>
                <a:grpSpLocks/>
              </p:cNvGrpSpPr>
              <p:nvPr/>
            </p:nvGrpSpPr>
            <p:grpSpPr bwMode="auto">
              <a:xfrm>
                <a:off x="2424" y="1209"/>
                <a:ext cx="589" cy="326"/>
                <a:chOff x="2424" y="1209"/>
                <a:chExt cx="589" cy="326"/>
              </a:xfrm>
            </p:grpSpPr>
            <p:sp>
              <p:nvSpPr>
                <p:cNvPr id="46172" name="Freeform 82"/>
                <p:cNvSpPr>
                  <a:spLocks/>
                </p:cNvSpPr>
                <p:nvPr/>
              </p:nvSpPr>
              <p:spPr bwMode="auto">
                <a:xfrm>
                  <a:off x="2669" y="1373"/>
                  <a:ext cx="152" cy="98"/>
                </a:xfrm>
                <a:custGeom>
                  <a:avLst/>
                  <a:gdLst>
                    <a:gd name="T0" fmla="*/ 0 w 759"/>
                    <a:gd name="T1" fmla="*/ 0 h 590"/>
                    <a:gd name="T2" fmla="*/ 0 w 759"/>
                    <a:gd name="T3" fmla="*/ 0 h 590"/>
                    <a:gd name="T4" fmla="*/ 0 w 759"/>
                    <a:gd name="T5" fmla="*/ 0 h 590"/>
                    <a:gd name="T6" fmla="*/ 0 w 759"/>
                    <a:gd name="T7" fmla="*/ 0 h 590"/>
                    <a:gd name="T8" fmla="*/ 0 w 759"/>
                    <a:gd name="T9" fmla="*/ 0 h 590"/>
                    <a:gd name="T10" fmla="*/ 0 w 759"/>
                    <a:gd name="T11" fmla="*/ 0 h 590"/>
                    <a:gd name="T12" fmla="*/ 0 w 759"/>
                    <a:gd name="T13" fmla="*/ 0 h 590"/>
                    <a:gd name="T14" fmla="*/ 0 w 759"/>
                    <a:gd name="T15" fmla="*/ 0 h 590"/>
                    <a:gd name="T16" fmla="*/ 0 w 759"/>
                    <a:gd name="T17" fmla="*/ 0 h 590"/>
                    <a:gd name="T18" fmla="*/ 0 w 759"/>
                    <a:gd name="T19" fmla="*/ 0 h 590"/>
                    <a:gd name="T20" fmla="*/ 0 w 759"/>
                    <a:gd name="T21" fmla="*/ 0 h 590"/>
                    <a:gd name="T22" fmla="*/ 0 w 759"/>
                    <a:gd name="T23" fmla="*/ 0 h 590"/>
                    <a:gd name="T24" fmla="*/ 0 w 759"/>
                    <a:gd name="T25" fmla="*/ 0 h 590"/>
                    <a:gd name="T26" fmla="*/ 0 w 759"/>
                    <a:gd name="T27" fmla="*/ 0 h 590"/>
                    <a:gd name="T28" fmla="*/ 0 w 759"/>
                    <a:gd name="T29" fmla="*/ 0 h 590"/>
                    <a:gd name="T30" fmla="*/ 0 w 759"/>
                    <a:gd name="T31" fmla="*/ 0 h 590"/>
                    <a:gd name="T32" fmla="*/ 0 w 759"/>
                    <a:gd name="T33" fmla="*/ 0 h 590"/>
                    <a:gd name="T34" fmla="*/ 0 w 759"/>
                    <a:gd name="T35" fmla="*/ 0 h 590"/>
                    <a:gd name="T36" fmla="*/ 0 w 759"/>
                    <a:gd name="T37" fmla="*/ 0 h 590"/>
                    <a:gd name="T38" fmla="*/ 0 w 759"/>
                    <a:gd name="T39" fmla="*/ 0 h 590"/>
                    <a:gd name="T40" fmla="*/ 0 w 759"/>
                    <a:gd name="T41" fmla="*/ 0 h 590"/>
                    <a:gd name="T42" fmla="*/ 0 w 759"/>
                    <a:gd name="T43" fmla="*/ 0 h 590"/>
                    <a:gd name="T44" fmla="*/ 0 w 759"/>
                    <a:gd name="T45" fmla="*/ 0 h 590"/>
                    <a:gd name="T46" fmla="*/ 0 w 759"/>
                    <a:gd name="T47" fmla="*/ 0 h 590"/>
                    <a:gd name="T48" fmla="*/ 0 w 759"/>
                    <a:gd name="T49" fmla="*/ 0 h 590"/>
                    <a:gd name="T50" fmla="*/ 0 w 759"/>
                    <a:gd name="T51" fmla="*/ 0 h 590"/>
                    <a:gd name="T52" fmla="*/ 0 w 759"/>
                    <a:gd name="T53" fmla="*/ 0 h 590"/>
                    <a:gd name="T54" fmla="*/ 0 w 759"/>
                    <a:gd name="T55" fmla="*/ 0 h 590"/>
                    <a:gd name="T56" fmla="*/ 0 w 759"/>
                    <a:gd name="T57" fmla="*/ 0 h 590"/>
                    <a:gd name="T58" fmla="*/ 0 w 759"/>
                    <a:gd name="T59" fmla="*/ 0 h 590"/>
                    <a:gd name="T60" fmla="*/ 0 w 759"/>
                    <a:gd name="T61" fmla="*/ 0 h 590"/>
                    <a:gd name="T62" fmla="*/ 0 w 759"/>
                    <a:gd name="T63" fmla="*/ 0 h 590"/>
                    <a:gd name="T64" fmla="*/ 0 w 759"/>
                    <a:gd name="T65" fmla="*/ 0 h 590"/>
                    <a:gd name="T66" fmla="*/ 0 w 759"/>
                    <a:gd name="T67" fmla="*/ 0 h 590"/>
                    <a:gd name="T68" fmla="*/ 0 w 759"/>
                    <a:gd name="T69" fmla="*/ 0 h 590"/>
                    <a:gd name="T70" fmla="*/ 0 w 759"/>
                    <a:gd name="T71" fmla="*/ 0 h 590"/>
                    <a:gd name="T72" fmla="*/ 0 w 759"/>
                    <a:gd name="T73" fmla="*/ 0 h 590"/>
                    <a:gd name="T74" fmla="*/ 0 w 759"/>
                    <a:gd name="T75" fmla="*/ 0 h 590"/>
                    <a:gd name="T76" fmla="*/ 0 w 759"/>
                    <a:gd name="T77" fmla="*/ 0 h 590"/>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759"/>
                    <a:gd name="T118" fmla="*/ 0 h 590"/>
                    <a:gd name="T119" fmla="*/ 759 w 759"/>
                    <a:gd name="T120" fmla="*/ 590 h 590"/>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759" h="590">
                      <a:moveTo>
                        <a:pt x="0" y="357"/>
                      </a:moveTo>
                      <a:lnTo>
                        <a:pt x="20" y="335"/>
                      </a:lnTo>
                      <a:lnTo>
                        <a:pt x="42" y="311"/>
                      </a:lnTo>
                      <a:lnTo>
                        <a:pt x="67" y="287"/>
                      </a:lnTo>
                      <a:lnTo>
                        <a:pt x="95" y="261"/>
                      </a:lnTo>
                      <a:lnTo>
                        <a:pt x="124" y="238"/>
                      </a:lnTo>
                      <a:lnTo>
                        <a:pt x="151" y="218"/>
                      </a:lnTo>
                      <a:lnTo>
                        <a:pt x="176" y="200"/>
                      </a:lnTo>
                      <a:lnTo>
                        <a:pt x="217" y="173"/>
                      </a:lnTo>
                      <a:lnTo>
                        <a:pt x="254" y="151"/>
                      </a:lnTo>
                      <a:lnTo>
                        <a:pt x="295" y="129"/>
                      </a:lnTo>
                      <a:lnTo>
                        <a:pt x="343" y="104"/>
                      </a:lnTo>
                      <a:lnTo>
                        <a:pt x="394" y="81"/>
                      </a:lnTo>
                      <a:lnTo>
                        <a:pt x="440" y="63"/>
                      </a:lnTo>
                      <a:lnTo>
                        <a:pt x="495" y="45"/>
                      </a:lnTo>
                      <a:lnTo>
                        <a:pt x="551" y="28"/>
                      </a:lnTo>
                      <a:lnTo>
                        <a:pt x="605" y="16"/>
                      </a:lnTo>
                      <a:lnTo>
                        <a:pt x="688" y="0"/>
                      </a:lnTo>
                      <a:lnTo>
                        <a:pt x="759" y="233"/>
                      </a:lnTo>
                      <a:lnTo>
                        <a:pt x="711" y="242"/>
                      </a:lnTo>
                      <a:lnTo>
                        <a:pt x="645" y="256"/>
                      </a:lnTo>
                      <a:lnTo>
                        <a:pt x="587" y="272"/>
                      </a:lnTo>
                      <a:lnTo>
                        <a:pt x="527" y="290"/>
                      </a:lnTo>
                      <a:lnTo>
                        <a:pt x="480" y="308"/>
                      </a:lnTo>
                      <a:lnTo>
                        <a:pt x="435" y="327"/>
                      </a:lnTo>
                      <a:lnTo>
                        <a:pt x="396" y="344"/>
                      </a:lnTo>
                      <a:lnTo>
                        <a:pt x="357" y="365"/>
                      </a:lnTo>
                      <a:lnTo>
                        <a:pt x="322" y="385"/>
                      </a:lnTo>
                      <a:lnTo>
                        <a:pt x="284" y="407"/>
                      </a:lnTo>
                      <a:lnTo>
                        <a:pt x="252" y="430"/>
                      </a:lnTo>
                      <a:lnTo>
                        <a:pt x="223" y="450"/>
                      </a:lnTo>
                      <a:lnTo>
                        <a:pt x="198" y="469"/>
                      </a:lnTo>
                      <a:lnTo>
                        <a:pt x="171" y="492"/>
                      </a:lnTo>
                      <a:lnTo>
                        <a:pt x="149" y="512"/>
                      </a:lnTo>
                      <a:lnTo>
                        <a:pt x="125" y="532"/>
                      </a:lnTo>
                      <a:lnTo>
                        <a:pt x="106" y="552"/>
                      </a:lnTo>
                      <a:lnTo>
                        <a:pt x="91" y="568"/>
                      </a:lnTo>
                      <a:lnTo>
                        <a:pt x="71" y="590"/>
                      </a:lnTo>
                      <a:lnTo>
                        <a:pt x="0" y="357"/>
                      </a:lnTo>
                      <a:close/>
                    </a:path>
                  </a:pathLst>
                </a:custGeom>
                <a:solidFill>
                  <a:srgbClr val="9F9F9F"/>
                </a:solidFill>
                <a:ln w="9525">
                  <a:noFill/>
                  <a:round/>
                  <a:headEnd/>
                  <a:tailEnd/>
                </a:ln>
              </p:spPr>
              <p:txBody>
                <a:bodyPr/>
                <a:lstStyle/>
                <a:p>
                  <a:endParaRPr lang="ja-JP" altLang="en-US" sz="1600" b="1">
                    <a:latin typeface="Times New Roman" charset="0"/>
                    <a:cs typeface="Times New Roman" charset="0"/>
                  </a:endParaRPr>
                </a:p>
              </p:txBody>
            </p:sp>
            <p:sp>
              <p:nvSpPr>
                <p:cNvPr id="46173" name="Freeform 83"/>
                <p:cNvSpPr>
                  <a:spLocks/>
                </p:cNvSpPr>
                <p:nvPr/>
              </p:nvSpPr>
              <p:spPr bwMode="auto">
                <a:xfrm>
                  <a:off x="2669" y="1373"/>
                  <a:ext cx="152" cy="98"/>
                </a:xfrm>
                <a:custGeom>
                  <a:avLst/>
                  <a:gdLst>
                    <a:gd name="T0" fmla="*/ 0 w 759"/>
                    <a:gd name="T1" fmla="*/ 0 h 590"/>
                    <a:gd name="T2" fmla="*/ 0 w 759"/>
                    <a:gd name="T3" fmla="*/ 0 h 590"/>
                    <a:gd name="T4" fmla="*/ 0 w 759"/>
                    <a:gd name="T5" fmla="*/ 0 h 590"/>
                    <a:gd name="T6" fmla="*/ 0 w 759"/>
                    <a:gd name="T7" fmla="*/ 0 h 590"/>
                    <a:gd name="T8" fmla="*/ 0 w 759"/>
                    <a:gd name="T9" fmla="*/ 0 h 590"/>
                    <a:gd name="T10" fmla="*/ 0 w 759"/>
                    <a:gd name="T11" fmla="*/ 0 h 590"/>
                    <a:gd name="T12" fmla="*/ 0 w 759"/>
                    <a:gd name="T13" fmla="*/ 0 h 590"/>
                    <a:gd name="T14" fmla="*/ 0 w 759"/>
                    <a:gd name="T15" fmla="*/ 0 h 590"/>
                    <a:gd name="T16" fmla="*/ 0 w 759"/>
                    <a:gd name="T17" fmla="*/ 0 h 590"/>
                    <a:gd name="T18" fmla="*/ 0 w 759"/>
                    <a:gd name="T19" fmla="*/ 0 h 590"/>
                    <a:gd name="T20" fmla="*/ 0 w 759"/>
                    <a:gd name="T21" fmla="*/ 0 h 590"/>
                    <a:gd name="T22" fmla="*/ 0 w 759"/>
                    <a:gd name="T23" fmla="*/ 0 h 590"/>
                    <a:gd name="T24" fmla="*/ 0 w 759"/>
                    <a:gd name="T25" fmla="*/ 0 h 590"/>
                    <a:gd name="T26" fmla="*/ 0 w 759"/>
                    <a:gd name="T27" fmla="*/ 0 h 590"/>
                    <a:gd name="T28" fmla="*/ 0 w 759"/>
                    <a:gd name="T29" fmla="*/ 0 h 590"/>
                    <a:gd name="T30" fmla="*/ 0 w 759"/>
                    <a:gd name="T31" fmla="*/ 0 h 590"/>
                    <a:gd name="T32" fmla="*/ 0 w 759"/>
                    <a:gd name="T33" fmla="*/ 0 h 590"/>
                    <a:gd name="T34" fmla="*/ 0 w 759"/>
                    <a:gd name="T35" fmla="*/ 0 h 590"/>
                    <a:gd name="T36" fmla="*/ 0 w 759"/>
                    <a:gd name="T37" fmla="*/ 0 h 590"/>
                    <a:gd name="T38" fmla="*/ 0 w 759"/>
                    <a:gd name="T39" fmla="*/ 0 h 590"/>
                    <a:gd name="T40" fmla="*/ 0 w 759"/>
                    <a:gd name="T41" fmla="*/ 0 h 590"/>
                    <a:gd name="T42" fmla="*/ 0 w 759"/>
                    <a:gd name="T43" fmla="*/ 0 h 590"/>
                    <a:gd name="T44" fmla="*/ 0 w 759"/>
                    <a:gd name="T45" fmla="*/ 0 h 590"/>
                    <a:gd name="T46" fmla="*/ 0 w 759"/>
                    <a:gd name="T47" fmla="*/ 0 h 590"/>
                    <a:gd name="T48" fmla="*/ 0 w 759"/>
                    <a:gd name="T49" fmla="*/ 0 h 590"/>
                    <a:gd name="T50" fmla="*/ 0 w 759"/>
                    <a:gd name="T51" fmla="*/ 0 h 590"/>
                    <a:gd name="T52" fmla="*/ 0 w 759"/>
                    <a:gd name="T53" fmla="*/ 0 h 590"/>
                    <a:gd name="T54" fmla="*/ 0 w 759"/>
                    <a:gd name="T55" fmla="*/ 0 h 590"/>
                    <a:gd name="T56" fmla="*/ 0 w 759"/>
                    <a:gd name="T57" fmla="*/ 0 h 590"/>
                    <a:gd name="T58" fmla="*/ 0 w 759"/>
                    <a:gd name="T59" fmla="*/ 0 h 590"/>
                    <a:gd name="T60" fmla="*/ 0 w 759"/>
                    <a:gd name="T61" fmla="*/ 0 h 590"/>
                    <a:gd name="T62" fmla="*/ 0 w 759"/>
                    <a:gd name="T63" fmla="*/ 0 h 590"/>
                    <a:gd name="T64" fmla="*/ 0 w 759"/>
                    <a:gd name="T65" fmla="*/ 0 h 590"/>
                    <a:gd name="T66" fmla="*/ 0 w 759"/>
                    <a:gd name="T67" fmla="*/ 0 h 590"/>
                    <a:gd name="T68" fmla="*/ 0 w 759"/>
                    <a:gd name="T69" fmla="*/ 0 h 590"/>
                    <a:gd name="T70" fmla="*/ 0 w 759"/>
                    <a:gd name="T71" fmla="*/ 0 h 590"/>
                    <a:gd name="T72" fmla="*/ 0 w 759"/>
                    <a:gd name="T73" fmla="*/ 0 h 590"/>
                    <a:gd name="T74" fmla="*/ 0 w 759"/>
                    <a:gd name="T75" fmla="*/ 0 h 590"/>
                    <a:gd name="T76" fmla="*/ 0 w 759"/>
                    <a:gd name="T77" fmla="*/ 0 h 590"/>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759"/>
                    <a:gd name="T118" fmla="*/ 0 h 590"/>
                    <a:gd name="T119" fmla="*/ 759 w 759"/>
                    <a:gd name="T120" fmla="*/ 590 h 590"/>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759" h="590">
                      <a:moveTo>
                        <a:pt x="0" y="357"/>
                      </a:moveTo>
                      <a:lnTo>
                        <a:pt x="20" y="335"/>
                      </a:lnTo>
                      <a:lnTo>
                        <a:pt x="42" y="311"/>
                      </a:lnTo>
                      <a:lnTo>
                        <a:pt x="67" y="287"/>
                      </a:lnTo>
                      <a:lnTo>
                        <a:pt x="95" y="261"/>
                      </a:lnTo>
                      <a:lnTo>
                        <a:pt x="124" y="238"/>
                      </a:lnTo>
                      <a:lnTo>
                        <a:pt x="151" y="218"/>
                      </a:lnTo>
                      <a:lnTo>
                        <a:pt x="176" y="200"/>
                      </a:lnTo>
                      <a:lnTo>
                        <a:pt x="217" y="173"/>
                      </a:lnTo>
                      <a:lnTo>
                        <a:pt x="254" y="151"/>
                      </a:lnTo>
                      <a:lnTo>
                        <a:pt x="295" y="129"/>
                      </a:lnTo>
                      <a:lnTo>
                        <a:pt x="343" y="104"/>
                      </a:lnTo>
                      <a:lnTo>
                        <a:pt x="394" y="81"/>
                      </a:lnTo>
                      <a:lnTo>
                        <a:pt x="440" y="63"/>
                      </a:lnTo>
                      <a:lnTo>
                        <a:pt x="495" y="45"/>
                      </a:lnTo>
                      <a:lnTo>
                        <a:pt x="551" y="28"/>
                      </a:lnTo>
                      <a:lnTo>
                        <a:pt x="605" y="16"/>
                      </a:lnTo>
                      <a:lnTo>
                        <a:pt x="688" y="0"/>
                      </a:lnTo>
                      <a:lnTo>
                        <a:pt x="759" y="233"/>
                      </a:lnTo>
                      <a:lnTo>
                        <a:pt x="711" y="242"/>
                      </a:lnTo>
                      <a:lnTo>
                        <a:pt x="645" y="256"/>
                      </a:lnTo>
                      <a:lnTo>
                        <a:pt x="587" y="272"/>
                      </a:lnTo>
                      <a:lnTo>
                        <a:pt x="527" y="290"/>
                      </a:lnTo>
                      <a:lnTo>
                        <a:pt x="480" y="308"/>
                      </a:lnTo>
                      <a:lnTo>
                        <a:pt x="435" y="327"/>
                      </a:lnTo>
                      <a:lnTo>
                        <a:pt x="396" y="344"/>
                      </a:lnTo>
                      <a:lnTo>
                        <a:pt x="357" y="365"/>
                      </a:lnTo>
                      <a:lnTo>
                        <a:pt x="322" y="385"/>
                      </a:lnTo>
                      <a:lnTo>
                        <a:pt x="284" y="407"/>
                      </a:lnTo>
                      <a:lnTo>
                        <a:pt x="252" y="430"/>
                      </a:lnTo>
                      <a:lnTo>
                        <a:pt x="223" y="450"/>
                      </a:lnTo>
                      <a:lnTo>
                        <a:pt x="198" y="469"/>
                      </a:lnTo>
                      <a:lnTo>
                        <a:pt x="171" y="492"/>
                      </a:lnTo>
                      <a:lnTo>
                        <a:pt x="149" y="512"/>
                      </a:lnTo>
                      <a:lnTo>
                        <a:pt x="125" y="532"/>
                      </a:lnTo>
                      <a:lnTo>
                        <a:pt x="106" y="552"/>
                      </a:lnTo>
                      <a:lnTo>
                        <a:pt x="91" y="568"/>
                      </a:lnTo>
                      <a:lnTo>
                        <a:pt x="71" y="590"/>
                      </a:lnTo>
                      <a:lnTo>
                        <a:pt x="0" y="357"/>
                      </a:lnTo>
                      <a:close/>
                    </a:path>
                  </a:pathLst>
                </a:custGeom>
                <a:noFill/>
                <a:ln w="3175">
                  <a:solidFill>
                    <a:srgbClr val="000000"/>
                  </a:solidFill>
                  <a:round/>
                  <a:headEnd/>
                  <a:tailEnd/>
                </a:ln>
              </p:spPr>
              <p:txBody>
                <a:bodyPr/>
                <a:lstStyle/>
                <a:p>
                  <a:endParaRPr lang="ja-JP" altLang="en-US" sz="1600" b="1">
                    <a:latin typeface="Times New Roman" charset="0"/>
                    <a:cs typeface="Times New Roman" charset="0"/>
                  </a:endParaRPr>
                </a:p>
              </p:txBody>
            </p:sp>
            <p:sp>
              <p:nvSpPr>
                <p:cNvPr id="46174" name="Line 84"/>
                <p:cNvSpPr>
                  <a:spLocks noChangeShapeType="1"/>
                </p:cNvSpPr>
                <p:nvPr/>
              </p:nvSpPr>
              <p:spPr bwMode="auto">
                <a:xfrm flipH="1">
                  <a:off x="2707" y="1350"/>
                  <a:ext cx="60" cy="74"/>
                </a:xfrm>
                <a:prstGeom prst="line">
                  <a:avLst/>
                </a:prstGeom>
                <a:noFill/>
                <a:ln w="7938">
                  <a:solidFill>
                    <a:srgbClr val="000000"/>
                  </a:solidFill>
                  <a:round/>
                  <a:headEnd/>
                  <a:tailEnd/>
                </a:ln>
              </p:spPr>
              <p:txBody>
                <a:bodyPr/>
                <a:lstStyle/>
                <a:p>
                  <a:endParaRPr lang="en-US" sz="1600" b="1"/>
                </a:p>
              </p:txBody>
            </p:sp>
            <p:sp>
              <p:nvSpPr>
                <p:cNvPr id="46175" name="Line 85"/>
                <p:cNvSpPr>
                  <a:spLocks noChangeShapeType="1"/>
                </p:cNvSpPr>
                <p:nvPr/>
              </p:nvSpPr>
              <p:spPr bwMode="auto">
                <a:xfrm flipH="1" flipV="1">
                  <a:off x="2702" y="1374"/>
                  <a:ext cx="74" cy="21"/>
                </a:xfrm>
                <a:prstGeom prst="line">
                  <a:avLst/>
                </a:prstGeom>
                <a:noFill/>
                <a:ln w="6350">
                  <a:solidFill>
                    <a:srgbClr val="000000"/>
                  </a:solidFill>
                  <a:round/>
                  <a:headEnd/>
                  <a:tailEnd/>
                </a:ln>
              </p:spPr>
              <p:txBody>
                <a:bodyPr/>
                <a:lstStyle/>
                <a:p>
                  <a:endParaRPr lang="en-US" sz="1600" b="1"/>
                </a:p>
              </p:txBody>
            </p:sp>
            <p:sp>
              <p:nvSpPr>
                <p:cNvPr id="46176" name="Line 86"/>
                <p:cNvSpPr>
                  <a:spLocks noChangeShapeType="1"/>
                </p:cNvSpPr>
                <p:nvPr/>
              </p:nvSpPr>
              <p:spPr bwMode="auto">
                <a:xfrm>
                  <a:off x="2767" y="1349"/>
                  <a:ext cx="9" cy="46"/>
                </a:xfrm>
                <a:prstGeom prst="line">
                  <a:avLst/>
                </a:prstGeom>
                <a:noFill/>
                <a:ln w="6350">
                  <a:solidFill>
                    <a:srgbClr val="000000"/>
                  </a:solidFill>
                  <a:round/>
                  <a:headEnd/>
                  <a:tailEnd/>
                </a:ln>
              </p:spPr>
              <p:txBody>
                <a:bodyPr/>
                <a:lstStyle/>
                <a:p>
                  <a:endParaRPr lang="en-US" sz="1600" b="1"/>
                </a:p>
              </p:txBody>
            </p:sp>
            <p:sp>
              <p:nvSpPr>
                <p:cNvPr id="46177" name="Line 87"/>
                <p:cNvSpPr>
                  <a:spLocks noChangeShapeType="1"/>
                </p:cNvSpPr>
                <p:nvPr/>
              </p:nvSpPr>
              <p:spPr bwMode="auto">
                <a:xfrm flipH="1">
                  <a:off x="2706" y="1395"/>
                  <a:ext cx="70" cy="29"/>
                </a:xfrm>
                <a:prstGeom prst="line">
                  <a:avLst/>
                </a:prstGeom>
                <a:noFill/>
                <a:ln w="6350">
                  <a:solidFill>
                    <a:srgbClr val="000000"/>
                  </a:solidFill>
                  <a:round/>
                  <a:headEnd/>
                  <a:tailEnd/>
                </a:ln>
              </p:spPr>
              <p:txBody>
                <a:bodyPr/>
                <a:lstStyle/>
                <a:p>
                  <a:endParaRPr lang="en-US" sz="1600" b="1"/>
                </a:p>
              </p:txBody>
            </p:sp>
            <p:sp>
              <p:nvSpPr>
                <p:cNvPr id="46178" name="Line 88"/>
                <p:cNvSpPr>
                  <a:spLocks noChangeShapeType="1"/>
                </p:cNvSpPr>
                <p:nvPr/>
              </p:nvSpPr>
              <p:spPr bwMode="auto">
                <a:xfrm flipH="1" flipV="1">
                  <a:off x="2700" y="1373"/>
                  <a:ext cx="7" cy="51"/>
                </a:xfrm>
                <a:prstGeom prst="line">
                  <a:avLst/>
                </a:prstGeom>
                <a:noFill/>
                <a:ln w="6350">
                  <a:solidFill>
                    <a:srgbClr val="000000"/>
                  </a:solidFill>
                  <a:round/>
                  <a:headEnd/>
                  <a:tailEnd/>
                </a:ln>
              </p:spPr>
              <p:txBody>
                <a:bodyPr/>
                <a:lstStyle/>
                <a:p>
                  <a:endParaRPr lang="en-US" sz="1600" b="1"/>
                </a:p>
              </p:txBody>
            </p:sp>
            <p:sp>
              <p:nvSpPr>
                <p:cNvPr id="46179" name="Line 89"/>
                <p:cNvSpPr>
                  <a:spLocks noChangeShapeType="1"/>
                </p:cNvSpPr>
                <p:nvPr/>
              </p:nvSpPr>
              <p:spPr bwMode="auto">
                <a:xfrm flipV="1">
                  <a:off x="2622" y="1330"/>
                  <a:ext cx="188" cy="82"/>
                </a:xfrm>
                <a:prstGeom prst="line">
                  <a:avLst/>
                </a:prstGeom>
                <a:noFill/>
                <a:ln w="14288">
                  <a:solidFill>
                    <a:srgbClr val="BFBFBF"/>
                  </a:solidFill>
                  <a:round/>
                  <a:headEnd/>
                  <a:tailEnd/>
                </a:ln>
              </p:spPr>
              <p:txBody>
                <a:bodyPr/>
                <a:lstStyle/>
                <a:p>
                  <a:endParaRPr lang="en-US" sz="1600" b="1"/>
                </a:p>
              </p:txBody>
            </p:sp>
            <p:sp>
              <p:nvSpPr>
                <p:cNvPr id="46180" name="Line 90"/>
                <p:cNvSpPr>
                  <a:spLocks noChangeShapeType="1"/>
                </p:cNvSpPr>
                <p:nvPr/>
              </p:nvSpPr>
              <p:spPr bwMode="auto">
                <a:xfrm flipV="1">
                  <a:off x="2621" y="1329"/>
                  <a:ext cx="190" cy="84"/>
                </a:xfrm>
                <a:prstGeom prst="line">
                  <a:avLst/>
                </a:prstGeom>
                <a:noFill/>
                <a:ln w="3175">
                  <a:solidFill>
                    <a:srgbClr val="000000"/>
                  </a:solidFill>
                  <a:round/>
                  <a:headEnd/>
                  <a:tailEnd/>
                </a:ln>
              </p:spPr>
              <p:txBody>
                <a:bodyPr/>
                <a:lstStyle/>
                <a:p>
                  <a:endParaRPr lang="en-US" sz="1600" b="1"/>
                </a:p>
              </p:txBody>
            </p:sp>
            <p:sp>
              <p:nvSpPr>
                <p:cNvPr id="46181" name="Freeform 91"/>
                <p:cNvSpPr>
                  <a:spLocks/>
                </p:cNvSpPr>
                <p:nvPr/>
              </p:nvSpPr>
              <p:spPr bwMode="auto">
                <a:xfrm>
                  <a:off x="2619" y="1283"/>
                  <a:ext cx="114" cy="84"/>
                </a:xfrm>
                <a:custGeom>
                  <a:avLst/>
                  <a:gdLst>
                    <a:gd name="T0" fmla="*/ 0 w 570"/>
                    <a:gd name="T1" fmla="*/ 0 h 503"/>
                    <a:gd name="T2" fmla="*/ 0 w 570"/>
                    <a:gd name="T3" fmla="*/ 0 h 503"/>
                    <a:gd name="T4" fmla="*/ 0 w 570"/>
                    <a:gd name="T5" fmla="*/ 0 h 503"/>
                    <a:gd name="T6" fmla="*/ 0 w 570"/>
                    <a:gd name="T7" fmla="*/ 0 h 503"/>
                    <a:gd name="T8" fmla="*/ 0 w 570"/>
                    <a:gd name="T9" fmla="*/ 0 h 503"/>
                    <a:gd name="T10" fmla="*/ 0 60000 65536"/>
                    <a:gd name="T11" fmla="*/ 0 60000 65536"/>
                    <a:gd name="T12" fmla="*/ 0 60000 65536"/>
                    <a:gd name="T13" fmla="*/ 0 60000 65536"/>
                    <a:gd name="T14" fmla="*/ 0 60000 65536"/>
                    <a:gd name="T15" fmla="*/ 0 w 570"/>
                    <a:gd name="T16" fmla="*/ 0 h 503"/>
                    <a:gd name="T17" fmla="*/ 570 w 570"/>
                    <a:gd name="T18" fmla="*/ 503 h 503"/>
                  </a:gdLst>
                  <a:ahLst/>
                  <a:cxnLst>
                    <a:cxn ang="T10">
                      <a:pos x="T0" y="T1"/>
                    </a:cxn>
                    <a:cxn ang="T11">
                      <a:pos x="T2" y="T3"/>
                    </a:cxn>
                    <a:cxn ang="T12">
                      <a:pos x="T4" y="T5"/>
                    </a:cxn>
                    <a:cxn ang="T13">
                      <a:pos x="T6" y="T7"/>
                    </a:cxn>
                    <a:cxn ang="T14">
                      <a:pos x="T8" y="T9"/>
                    </a:cxn>
                  </a:cxnLst>
                  <a:rect l="T15" t="T16" r="T17" b="T18"/>
                  <a:pathLst>
                    <a:path w="570" h="503">
                      <a:moveTo>
                        <a:pt x="0" y="237"/>
                      </a:moveTo>
                      <a:lnTo>
                        <a:pt x="412" y="0"/>
                      </a:lnTo>
                      <a:lnTo>
                        <a:pt x="570" y="267"/>
                      </a:lnTo>
                      <a:lnTo>
                        <a:pt x="161" y="503"/>
                      </a:lnTo>
                      <a:lnTo>
                        <a:pt x="0" y="237"/>
                      </a:lnTo>
                      <a:close/>
                    </a:path>
                  </a:pathLst>
                </a:custGeom>
                <a:solidFill>
                  <a:srgbClr val="BFDFFF"/>
                </a:solidFill>
                <a:ln w="9525">
                  <a:noFill/>
                  <a:round/>
                  <a:headEnd/>
                  <a:tailEnd/>
                </a:ln>
              </p:spPr>
              <p:txBody>
                <a:bodyPr/>
                <a:lstStyle/>
                <a:p>
                  <a:endParaRPr lang="ja-JP" altLang="en-US" sz="1600" b="1">
                    <a:latin typeface="Times New Roman" charset="0"/>
                    <a:cs typeface="Times New Roman" charset="0"/>
                  </a:endParaRPr>
                </a:p>
              </p:txBody>
            </p:sp>
            <p:sp>
              <p:nvSpPr>
                <p:cNvPr id="46182" name="Freeform 92"/>
                <p:cNvSpPr>
                  <a:spLocks/>
                </p:cNvSpPr>
                <p:nvPr/>
              </p:nvSpPr>
              <p:spPr bwMode="auto">
                <a:xfrm>
                  <a:off x="2619" y="1283"/>
                  <a:ext cx="114" cy="84"/>
                </a:xfrm>
                <a:custGeom>
                  <a:avLst/>
                  <a:gdLst>
                    <a:gd name="T0" fmla="*/ 0 w 570"/>
                    <a:gd name="T1" fmla="*/ 0 h 503"/>
                    <a:gd name="T2" fmla="*/ 0 w 570"/>
                    <a:gd name="T3" fmla="*/ 0 h 503"/>
                    <a:gd name="T4" fmla="*/ 0 w 570"/>
                    <a:gd name="T5" fmla="*/ 0 h 503"/>
                    <a:gd name="T6" fmla="*/ 0 w 570"/>
                    <a:gd name="T7" fmla="*/ 0 h 503"/>
                    <a:gd name="T8" fmla="*/ 0 w 570"/>
                    <a:gd name="T9" fmla="*/ 0 h 503"/>
                    <a:gd name="T10" fmla="*/ 0 60000 65536"/>
                    <a:gd name="T11" fmla="*/ 0 60000 65536"/>
                    <a:gd name="T12" fmla="*/ 0 60000 65536"/>
                    <a:gd name="T13" fmla="*/ 0 60000 65536"/>
                    <a:gd name="T14" fmla="*/ 0 60000 65536"/>
                    <a:gd name="T15" fmla="*/ 0 w 570"/>
                    <a:gd name="T16" fmla="*/ 0 h 503"/>
                    <a:gd name="T17" fmla="*/ 570 w 570"/>
                    <a:gd name="T18" fmla="*/ 503 h 503"/>
                  </a:gdLst>
                  <a:ahLst/>
                  <a:cxnLst>
                    <a:cxn ang="T10">
                      <a:pos x="T0" y="T1"/>
                    </a:cxn>
                    <a:cxn ang="T11">
                      <a:pos x="T2" y="T3"/>
                    </a:cxn>
                    <a:cxn ang="T12">
                      <a:pos x="T4" y="T5"/>
                    </a:cxn>
                    <a:cxn ang="T13">
                      <a:pos x="T6" y="T7"/>
                    </a:cxn>
                    <a:cxn ang="T14">
                      <a:pos x="T8" y="T9"/>
                    </a:cxn>
                  </a:cxnLst>
                  <a:rect l="T15" t="T16" r="T17" b="T18"/>
                  <a:pathLst>
                    <a:path w="570" h="503">
                      <a:moveTo>
                        <a:pt x="0" y="237"/>
                      </a:moveTo>
                      <a:lnTo>
                        <a:pt x="412" y="0"/>
                      </a:lnTo>
                      <a:lnTo>
                        <a:pt x="570" y="267"/>
                      </a:lnTo>
                      <a:lnTo>
                        <a:pt x="161" y="503"/>
                      </a:lnTo>
                      <a:lnTo>
                        <a:pt x="0" y="237"/>
                      </a:lnTo>
                      <a:close/>
                    </a:path>
                  </a:pathLst>
                </a:custGeom>
                <a:noFill/>
                <a:ln w="3175">
                  <a:solidFill>
                    <a:srgbClr val="000000"/>
                  </a:solidFill>
                  <a:round/>
                  <a:headEnd/>
                  <a:tailEnd/>
                </a:ln>
              </p:spPr>
              <p:txBody>
                <a:bodyPr/>
                <a:lstStyle/>
                <a:p>
                  <a:endParaRPr lang="ja-JP" altLang="en-US" sz="1600" b="1">
                    <a:latin typeface="Times New Roman" charset="0"/>
                    <a:cs typeface="Times New Roman" charset="0"/>
                  </a:endParaRPr>
                </a:p>
              </p:txBody>
            </p:sp>
            <p:sp>
              <p:nvSpPr>
                <p:cNvPr id="46183" name="Freeform 93"/>
                <p:cNvSpPr>
                  <a:spLocks/>
                </p:cNvSpPr>
                <p:nvPr/>
              </p:nvSpPr>
              <p:spPr bwMode="auto">
                <a:xfrm>
                  <a:off x="2701" y="1283"/>
                  <a:ext cx="62" cy="50"/>
                </a:xfrm>
                <a:custGeom>
                  <a:avLst/>
                  <a:gdLst>
                    <a:gd name="T0" fmla="*/ 0 w 309"/>
                    <a:gd name="T1" fmla="*/ 0 h 299"/>
                    <a:gd name="T2" fmla="*/ 0 w 309"/>
                    <a:gd name="T3" fmla="*/ 0 h 299"/>
                    <a:gd name="T4" fmla="*/ 0 w 309"/>
                    <a:gd name="T5" fmla="*/ 0 h 299"/>
                    <a:gd name="T6" fmla="*/ 0 w 309"/>
                    <a:gd name="T7" fmla="*/ 0 h 299"/>
                    <a:gd name="T8" fmla="*/ 0 w 309"/>
                    <a:gd name="T9" fmla="*/ 0 h 299"/>
                    <a:gd name="T10" fmla="*/ 0 60000 65536"/>
                    <a:gd name="T11" fmla="*/ 0 60000 65536"/>
                    <a:gd name="T12" fmla="*/ 0 60000 65536"/>
                    <a:gd name="T13" fmla="*/ 0 60000 65536"/>
                    <a:gd name="T14" fmla="*/ 0 60000 65536"/>
                    <a:gd name="T15" fmla="*/ 0 w 309"/>
                    <a:gd name="T16" fmla="*/ 0 h 299"/>
                    <a:gd name="T17" fmla="*/ 309 w 309"/>
                    <a:gd name="T18" fmla="*/ 299 h 299"/>
                  </a:gdLst>
                  <a:ahLst/>
                  <a:cxnLst>
                    <a:cxn ang="T10">
                      <a:pos x="T0" y="T1"/>
                    </a:cxn>
                    <a:cxn ang="T11">
                      <a:pos x="T2" y="T3"/>
                    </a:cxn>
                    <a:cxn ang="T12">
                      <a:pos x="T4" y="T5"/>
                    </a:cxn>
                    <a:cxn ang="T13">
                      <a:pos x="T6" y="T7"/>
                    </a:cxn>
                    <a:cxn ang="T14">
                      <a:pos x="T8" y="T9"/>
                    </a:cxn>
                  </a:cxnLst>
                  <a:rect l="T15" t="T16" r="T17" b="T18"/>
                  <a:pathLst>
                    <a:path w="309" h="299">
                      <a:moveTo>
                        <a:pt x="0" y="0"/>
                      </a:moveTo>
                      <a:lnTo>
                        <a:pt x="227" y="156"/>
                      </a:lnTo>
                      <a:lnTo>
                        <a:pt x="309" y="299"/>
                      </a:lnTo>
                      <a:lnTo>
                        <a:pt x="158" y="266"/>
                      </a:lnTo>
                      <a:lnTo>
                        <a:pt x="0" y="0"/>
                      </a:lnTo>
                      <a:close/>
                    </a:path>
                  </a:pathLst>
                </a:custGeom>
                <a:solidFill>
                  <a:srgbClr val="BFBFBF"/>
                </a:solidFill>
                <a:ln w="9525">
                  <a:noFill/>
                  <a:round/>
                  <a:headEnd/>
                  <a:tailEnd/>
                </a:ln>
              </p:spPr>
              <p:txBody>
                <a:bodyPr/>
                <a:lstStyle/>
                <a:p>
                  <a:endParaRPr lang="ja-JP" altLang="en-US" sz="1600" b="1">
                    <a:latin typeface="Times New Roman" charset="0"/>
                    <a:cs typeface="Times New Roman" charset="0"/>
                  </a:endParaRPr>
                </a:p>
              </p:txBody>
            </p:sp>
            <p:sp>
              <p:nvSpPr>
                <p:cNvPr id="46184" name="Freeform 94"/>
                <p:cNvSpPr>
                  <a:spLocks/>
                </p:cNvSpPr>
                <p:nvPr/>
              </p:nvSpPr>
              <p:spPr bwMode="auto">
                <a:xfrm>
                  <a:off x="2701" y="1283"/>
                  <a:ext cx="62" cy="50"/>
                </a:xfrm>
                <a:custGeom>
                  <a:avLst/>
                  <a:gdLst>
                    <a:gd name="T0" fmla="*/ 0 w 309"/>
                    <a:gd name="T1" fmla="*/ 0 h 299"/>
                    <a:gd name="T2" fmla="*/ 0 w 309"/>
                    <a:gd name="T3" fmla="*/ 0 h 299"/>
                    <a:gd name="T4" fmla="*/ 0 w 309"/>
                    <a:gd name="T5" fmla="*/ 0 h 299"/>
                    <a:gd name="T6" fmla="*/ 0 w 309"/>
                    <a:gd name="T7" fmla="*/ 0 h 299"/>
                    <a:gd name="T8" fmla="*/ 0 w 309"/>
                    <a:gd name="T9" fmla="*/ 0 h 299"/>
                    <a:gd name="T10" fmla="*/ 0 60000 65536"/>
                    <a:gd name="T11" fmla="*/ 0 60000 65536"/>
                    <a:gd name="T12" fmla="*/ 0 60000 65536"/>
                    <a:gd name="T13" fmla="*/ 0 60000 65536"/>
                    <a:gd name="T14" fmla="*/ 0 60000 65536"/>
                    <a:gd name="T15" fmla="*/ 0 w 309"/>
                    <a:gd name="T16" fmla="*/ 0 h 299"/>
                    <a:gd name="T17" fmla="*/ 309 w 309"/>
                    <a:gd name="T18" fmla="*/ 299 h 299"/>
                  </a:gdLst>
                  <a:ahLst/>
                  <a:cxnLst>
                    <a:cxn ang="T10">
                      <a:pos x="T0" y="T1"/>
                    </a:cxn>
                    <a:cxn ang="T11">
                      <a:pos x="T2" y="T3"/>
                    </a:cxn>
                    <a:cxn ang="T12">
                      <a:pos x="T4" y="T5"/>
                    </a:cxn>
                    <a:cxn ang="T13">
                      <a:pos x="T6" y="T7"/>
                    </a:cxn>
                    <a:cxn ang="T14">
                      <a:pos x="T8" y="T9"/>
                    </a:cxn>
                  </a:cxnLst>
                  <a:rect l="T15" t="T16" r="T17" b="T18"/>
                  <a:pathLst>
                    <a:path w="309" h="299">
                      <a:moveTo>
                        <a:pt x="0" y="0"/>
                      </a:moveTo>
                      <a:lnTo>
                        <a:pt x="227" y="156"/>
                      </a:lnTo>
                      <a:lnTo>
                        <a:pt x="309" y="299"/>
                      </a:lnTo>
                      <a:lnTo>
                        <a:pt x="158" y="266"/>
                      </a:lnTo>
                      <a:lnTo>
                        <a:pt x="0" y="0"/>
                      </a:lnTo>
                      <a:close/>
                    </a:path>
                  </a:pathLst>
                </a:custGeom>
                <a:noFill/>
                <a:ln w="3175">
                  <a:solidFill>
                    <a:srgbClr val="000000"/>
                  </a:solidFill>
                  <a:round/>
                  <a:headEnd/>
                  <a:tailEnd/>
                </a:ln>
              </p:spPr>
              <p:txBody>
                <a:bodyPr/>
                <a:lstStyle/>
                <a:p>
                  <a:endParaRPr lang="ja-JP" altLang="en-US" sz="1600" b="1">
                    <a:latin typeface="Times New Roman" charset="0"/>
                    <a:cs typeface="Times New Roman" charset="0"/>
                  </a:endParaRPr>
                </a:p>
              </p:txBody>
            </p:sp>
            <p:sp>
              <p:nvSpPr>
                <p:cNvPr id="46185" name="Freeform 95"/>
                <p:cNvSpPr>
                  <a:spLocks/>
                </p:cNvSpPr>
                <p:nvPr/>
              </p:nvSpPr>
              <p:spPr bwMode="auto">
                <a:xfrm>
                  <a:off x="2651" y="1328"/>
                  <a:ext cx="111" cy="39"/>
                </a:xfrm>
                <a:custGeom>
                  <a:avLst/>
                  <a:gdLst>
                    <a:gd name="T0" fmla="*/ 0 w 556"/>
                    <a:gd name="T1" fmla="*/ 0 h 236"/>
                    <a:gd name="T2" fmla="*/ 0 w 556"/>
                    <a:gd name="T3" fmla="*/ 0 h 236"/>
                    <a:gd name="T4" fmla="*/ 0 w 556"/>
                    <a:gd name="T5" fmla="*/ 0 h 236"/>
                    <a:gd name="T6" fmla="*/ 0 w 556"/>
                    <a:gd name="T7" fmla="*/ 0 h 236"/>
                    <a:gd name="T8" fmla="*/ 0 w 556"/>
                    <a:gd name="T9" fmla="*/ 0 h 236"/>
                    <a:gd name="T10" fmla="*/ 0 60000 65536"/>
                    <a:gd name="T11" fmla="*/ 0 60000 65536"/>
                    <a:gd name="T12" fmla="*/ 0 60000 65536"/>
                    <a:gd name="T13" fmla="*/ 0 60000 65536"/>
                    <a:gd name="T14" fmla="*/ 0 60000 65536"/>
                    <a:gd name="T15" fmla="*/ 0 w 556"/>
                    <a:gd name="T16" fmla="*/ 0 h 236"/>
                    <a:gd name="T17" fmla="*/ 556 w 556"/>
                    <a:gd name="T18" fmla="*/ 236 h 236"/>
                  </a:gdLst>
                  <a:ahLst/>
                  <a:cxnLst>
                    <a:cxn ang="T10">
                      <a:pos x="T0" y="T1"/>
                    </a:cxn>
                    <a:cxn ang="T11">
                      <a:pos x="T2" y="T3"/>
                    </a:cxn>
                    <a:cxn ang="T12">
                      <a:pos x="T4" y="T5"/>
                    </a:cxn>
                    <a:cxn ang="T13">
                      <a:pos x="T6" y="T7"/>
                    </a:cxn>
                    <a:cxn ang="T14">
                      <a:pos x="T8" y="T9"/>
                    </a:cxn>
                  </a:cxnLst>
                  <a:rect l="T15" t="T16" r="T17" b="T18"/>
                  <a:pathLst>
                    <a:path w="556" h="236">
                      <a:moveTo>
                        <a:pt x="0" y="236"/>
                      </a:moveTo>
                      <a:lnTo>
                        <a:pt x="408" y="0"/>
                      </a:lnTo>
                      <a:lnTo>
                        <a:pt x="556" y="30"/>
                      </a:lnTo>
                      <a:lnTo>
                        <a:pt x="247" y="193"/>
                      </a:lnTo>
                      <a:lnTo>
                        <a:pt x="0" y="236"/>
                      </a:lnTo>
                      <a:close/>
                    </a:path>
                  </a:pathLst>
                </a:custGeom>
                <a:solidFill>
                  <a:srgbClr val="9F9F9F"/>
                </a:solidFill>
                <a:ln w="9525">
                  <a:noFill/>
                  <a:round/>
                  <a:headEnd/>
                  <a:tailEnd/>
                </a:ln>
              </p:spPr>
              <p:txBody>
                <a:bodyPr/>
                <a:lstStyle/>
                <a:p>
                  <a:endParaRPr lang="ja-JP" altLang="en-US" sz="1600" b="1">
                    <a:latin typeface="Times New Roman" charset="0"/>
                    <a:cs typeface="Times New Roman" charset="0"/>
                  </a:endParaRPr>
                </a:p>
              </p:txBody>
            </p:sp>
            <p:sp>
              <p:nvSpPr>
                <p:cNvPr id="46186" name="Freeform 96"/>
                <p:cNvSpPr>
                  <a:spLocks/>
                </p:cNvSpPr>
                <p:nvPr/>
              </p:nvSpPr>
              <p:spPr bwMode="auto">
                <a:xfrm>
                  <a:off x="2651" y="1328"/>
                  <a:ext cx="111" cy="39"/>
                </a:xfrm>
                <a:custGeom>
                  <a:avLst/>
                  <a:gdLst>
                    <a:gd name="T0" fmla="*/ 0 w 556"/>
                    <a:gd name="T1" fmla="*/ 0 h 236"/>
                    <a:gd name="T2" fmla="*/ 0 w 556"/>
                    <a:gd name="T3" fmla="*/ 0 h 236"/>
                    <a:gd name="T4" fmla="*/ 0 w 556"/>
                    <a:gd name="T5" fmla="*/ 0 h 236"/>
                    <a:gd name="T6" fmla="*/ 0 w 556"/>
                    <a:gd name="T7" fmla="*/ 0 h 236"/>
                    <a:gd name="T8" fmla="*/ 0 w 556"/>
                    <a:gd name="T9" fmla="*/ 0 h 236"/>
                    <a:gd name="T10" fmla="*/ 0 60000 65536"/>
                    <a:gd name="T11" fmla="*/ 0 60000 65536"/>
                    <a:gd name="T12" fmla="*/ 0 60000 65536"/>
                    <a:gd name="T13" fmla="*/ 0 60000 65536"/>
                    <a:gd name="T14" fmla="*/ 0 60000 65536"/>
                    <a:gd name="T15" fmla="*/ 0 w 556"/>
                    <a:gd name="T16" fmla="*/ 0 h 236"/>
                    <a:gd name="T17" fmla="*/ 556 w 556"/>
                    <a:gd name="T18" fmla="*/ 236 h 236"/>
                  </a:gdLst>
                  <a:ahLst/>
                  <a:cxnLst>
                    <a:cxn ang="T10">
                      <a:pos x="T0" y="T1"/>
                    </a:cxn>
                    <a:cxn ang="T11">
                      <a:pos x="T2" y="T3"/>
                    </a:cxn>
                    <a:cxn ang="T12">
                      <a:pos x="T4" y="T5"/>
                    </a:cxn>
                    <a:cxn ang="T13">
                      <a:pos x="T6" y="T7"/>
                    </a:cxn>
                    <a:cxn ang="T14">
                      <a:pos x="T8" y="T9"/>
                    </a:cxn>
                  </a:cxnLst>
                  <a:rect l="T15" t="T16" r="T17" b="T18"/>
                  <a:pathLst>
                    <a:path w="556" h="236">
                      <a:moveTo>
                        <a:pt x="0" y="236"/>
                      </a:moveTo>
                      <a:lnTo>
                        <a:pt x="408" y="0"/>
                      </a:lnTo>
                      <a:lnTo>
                        <a:pt x="556" y="30"/>
                      </a:lnTo>
                      <a:lnTo>
                        <a:pt x="247" y="193"/>
                      </a:lnTo>
                      <a:lnTo>
                        <a:pt x="0" y="236"/>
                      </a:lnTo>
                      <a:close/>
                    </a:path>
                  </a:pathLst>
                </a:custGeom>
                <a:noFill/>
                <a:ln w="3175">
                  <a:solidFill>
                    <a:srgbClr val="000000"/>
                  </a:solidFill>
                  <a:round/>
                  <a:headEnd/>
                  <a:tailEnd/>
                </a:ln>
              </p:spPr>
              <p:txBody>
                <a:bodyPr/>
                <a:lstStyle/>
                <a:p>
                  <a:endParaRPr lang="ja-JP" altLang="en-US" sz="1600" b="1">
                    <a:latin typeface="Times New Roman" charset="0"/>
                    <a:cs typeface="Times New Roman" charset="0"/>
                  </a:endParaRPr>
                </a:p>
              </p:txBody>
            </p:sp>
            <p:sp>
              <p:nvSpPr>
                <p:cNvPr id="46187" name="Oval 97"/>
                <p:cNvSpPr>
                  <a:spLocks noChangeArrowheads="1"/>
                </p:cNvSpPr>
                <p:nvPr/>
              </p:nvSpPr>
              <p:spPr bwMode="auto">
                <a:xfrm>
                  <a:off x="2642" y="1316"/>
                  <a:ext cx="30" cy="25"/>
                </a:xfrm>
                <a:prstGeom prst="ellipse">
                  <a:avLst/>
                </a:prstGeom>
                <a:solidFill>
                  <a:srgbClr val="3F7FFF"/>
                </a:solidFill>
                <a:ln w="9525">
                  <a:noFill/>
                  <a:round/>
                  <a:headEnd/>
                  <a:tailEnd/>
                </a:ln>
              </p:spPr>
              <p:txBody>
                <a:bodyPr/>
                <a:lstStyle/>
                <a:p>
                  <a:endParaRPr lang="ja-JP" altLang="en-US" sz="1600" b="1">
                    <a:latin typeface="Times New Roman" charset="0"/>
                    <a:cs typeface="Times New Roman" charset="0"/>
                  </a:endParaRPr>
                </a:p>
              </p:txBody>
            </p:sp>
            <p:sp>
              <p:nvSpPr>
                <p:cNvPr id="46188" name="Freeform 98"/>
                <p:cNvSpPr>
                  <a:spLocks/>
                </p:cNvSpPr>
                <p:nvPr/>
              </p:nvSpPr>
              <p:spPr bwMode="auto">
                <a:xfrm>
                  <a:off x="2642" y="1316"/>
                  <a:ext cx="30" cy="25"/>
                </a:xfrm>
                <a:custGeom>
                  <a:avLst/>
                  <a:gdLst>
                    <a:gd name="T0" fmla="*/ 0 w 153"/>
                    <a:gd name="T1" fmla="*/ 0 h 151"/>
                    <a:gd name="T2" fmla="*/ 0 w 153"/>
                    <a:gd name="T3" fmla="*/ 0 h 151"/>
                    <a:gd name="T4" fmla="*/ 0 w 153"/>
                    <a:gd name="T5" fmla="*/ 0 h 151"/>
                    <a:gd name="T6" fmla="*/ 0 w 153"/>
                    <a:gd name="T7" fmla="*/ 0 h 151"/>
                    <a:gd name="T8" fmla="*/ 0 w 153"/>
                    <a:gd name="T9" fmla="*/ 0 h 151"/>
                    <a:gd name="T10" fmla="*/ 0 w 153"/>
                    <a:gd name="T11" fmla="*/ 0 h 151"/>
                    <a:gd name="T12" fmla="*/ 0 w 153"/>
                    <a:gd name="T13" fmla="*/ 0 h 151"/>
                    <a:gd name="T14" fmla="*/ 0 w 153"/>
                    <a:gd name="T15" fmla="*/ 0 h 151"/>
                    <a:gd name="T16" fmla="*/ 0 w 153"/>
                    <a:gd name="T17" fmla="*/ 0 h 151"/>
                    <a:gd name="T18" fmla="*/ 0 w 153"/>
                    <a:gd name="T19" fmla="*/ 0 h 151"/>
                    <a:gd name="T20" fmla="*/ 0 w 153"/>
                    <a:gd name="T21" fmla="*/ 0 h 151"/>
                    <a:gd name="T22" fmla="*/ 0 w 153"/>
                    <a:gd name="T23" fmla="*/ 0 h 151"/>
                    <a:gd name="T24" fmla="*/ 0 w 153"/>
                    <a:gd name="T25" fmla="*/ 0 h 151"/>
                    <a:gd name="T26" fmla="*/ 0 w 153"/>
                    <a:gd name="T27" fmla="*/ 0 h 151"/>
                    <a:gd name="T28" fmla="*/ 0 w 153"/>
                    <a:gd name="T29" fmla="*/ 0 h 151"/>
                    <a:gd name="T30" fmla="*/ 0 w 153"/>
                    <a:gd name="T31" fmla="*/ 0 h 151"/>
                    <a:gd name="T32" fmla="*/ 0 w 153"/>
                    <a:gd name="T33" fmla="*/ 0 h 151"/>
                    <a:gd name="T34" fmla="*/ 0 w 153"/>
                    <a:gd name="T35" fmla="*/ 0 h 151"/>
                    <a:gd name="T36" fmla="*/ 0 w 153"/>
                    <a:gd name="T37" fmla="*/ 0 h 151"/>
                    <a:gd name="T38" fmla="*/ 0 w 153"/>
                    <a:gd name="T39" fmla="*/ 0 h 151"/>
                    <a:gd name="T40" fmla="*/ 0 w 153"/>
                    <a:gd name="T41" fmla="*/ 0 h 151"/>
                    <a:gd name="T42" fmla="*/ 0 w 153"/>
                    <a:gd name="T43" fmla="*/ 0 h 151"/>
                    <a:gd name="T44" fmla="*/ 0 w 153"/>
                    <a:gd name="T45" fmla="*/ 0 h 151"/>
                    <a:gd name="T46" fmla="*/ 0 w 153"/>
                    <a:gd name="T47" fmla="*/ 0 h 151"/>
                    <a:gd name="T48" fmla="*/ 0 w 153"/>
                    <a:gd name="T49" fmla="*/ 0 h 151"/>
                    <a:gd name="T50" fmla="*/ 0 w 153"/>
                    <a:gd name="T51" fmla="*/ 0 h 151"/>
                    <a:gd name="T52" fmla="*/ 0 w 153"/>
                    <a:gd name="T53" fmla="*/ 0 h 151"/>
                    <a:gd name="T54" fmla="*/ 0 w 153"/>
                    <a:gd name="T55" fmla="*/ 0 h 151"/>
                    <a:gd name="T56" fmla="*/ 0 w 153"/>
                    <a:gd name="T57" fmla="*/ 0 h 151"/>
                    <a:gd name="T58" fmla="*/ 0 w 153"/>
                    <a:gd name="T59" fmla="*/ 0 h 151"/>
                    <a:gd name="T60" fmla="*/ 0 w 153"/>
                    <a:gd name="T61" fmla="*/ 0 h 151"/>
                    <a:gd name="T62" fmla="*/ 0 w 153"/>
                    <a:gd name="T63" fmla="*/ 0 h 151"/>
                    <a:gd name="T64" fmla="*/ 0 w 153"/>
                    <a:gd name="T65" fmla="*/ 0 h 151"/>
                    <a:gd name="T66" fmla="*/ 0 w 153"/>
                    <a:gd name="T67" fmla="*/ 0 h 151"/>
                    <a:gd name="T68" fmla="*/ 0 w 153"/>
                    <a:gd name="T69" fmla="*/ 0 h 151"/>
                    <a:gd name="T70" fmla="*/ 0 w 153"/>
                    <a:gd name="T71" fmla="*/ 0 h 151"/>
                    <a:gd name="T72" fmla="*/ 0 w 153"/>
                    <a:gd name="T73" fmla="*/ 0 h 151"/>
                    <a:gd name="T74" fmla="*/ 0 w 153"/>
                    <a:gd name="T75" fmla="*/ 0 h 151"/>
                    <a:gd name="T76" fmla="*/ 0 w 153"/>
                    <a:gd name="T77" fmla="*/ 0 h 151"/>
                    <a:gd name="T78" fmla="*/ 0 w 153"/>
                    <a:gd name="T79" fmla="*/ 0 h 151"/>
                    <a:gd name="T80" fmla="*/ 0 w 153"/>
                    <a:gd name="T81" fmla="*/ 0 h 151"/>
                    <a:gd name="T82" fmla="*/ 0 w 153"/>
                    <a:gd name="T83" fmla="*/ 0 h 151"/>
                    <a:gd name="T84" fmla="*/ 0 w 153"/>
                    <a:gd name="T85" fmla="*/ 0 h 151"/>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53"/>
                    <a:gd name="T130" fmla="*/ 0 h 151"/>
                    <a:gd name="T131" fmla="*/ 153 w 153"/>
                    <a:gd name="T132" fmla="*/ 151 h 151"/>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53" h="151">
                      <a:moveTo>
                        <a:pt x="76" y="8"/>
                      </a:moveTo>
                      <a:lnTo>
                        <a:pt x="83" y="8"/>
                      </a:lnTo>
                      <a:lnTo>
                        <a:pt x="90" y="9"/>
                      </a:lnTo>
                      <a:lnTo>
                        <a:pt x="96" y="11"/>
                      </a:lnTo>
                      <a:lnTo>
                        <a:pt x="103" y="12"/>
                      </a:lnTo>
                      <a:lnTo>
                        <a:pt x="108" y="16"/>
                      </a:lnTo>
                      <a:lnTo>
                        <a:pt x="114" y="19"/>
                      </a:lnTo>
                      <a:lnTo>
                        <a:pt x="119" y="23"/>
                      </a:lnTo>
                      <a:lnTo>
                        <a:pt x="125" y="29"/>
                      </a:lnTo>
                      <a:lnTo>
                        <a:pt x="130" y="33"/>
                      </a:lnTo>
                      <a:lnTo>
                        <a:pt x="133" y="38"/>
                      </a:lnTo>
                      <a:lnTo>
                        <a:pt x="137" y="44"/>
                      </a:lnTo>
                      <a:lnTo>
                        <a:pt x="140" y="50"/>
                      </a:lnTo>
                      <a:lnTo>
                        <a:pt x="141" y="56"/>
                      </a:lnTo>
                      <a:lnTo>
                        <a:pt x="143" y="63"/>
                      </a:lnTo>
                      <a:lnTo>
                        <a:pt x="144" y="69"/>
                      </a:lnTo>
                      <a:lnTo>
                        <a:pt x="144" y="76"/>
                      </a:lnTo>
                      <a:lnTo>
                        <a:pt x="144" y="82"/>
                      </a:lnTo>
                      <a:lnTo>
                        <a:pt x="143" y="88"/>
                      </a:lnTo>
                      <a:lnTo>
                        <a:pt x="141" y="95"/>
                      </a:lnTo>
                      <a:lnTo>
                        <a:pt x="140" y="101"/>
                      </a:lnTo>
                      <a:lnTo>
                        <a:pt x="137" y="107"/>
                      </a:lnTo>
                      <a:lnTo>
                        <a:pt x="133" y="113"/>
                      </a:lnTo>
                      <a:lnTo>
                        <a:pt x="130" y="118"/>
                      </a:lnTo>
                      <a:lnTo>
                        <a:pt x="125" y="122"/>
                      </a:lnTo>
                      <a:lnTo>
                        <a:pt x="119" y="127"/>
                      </a:lnTo>
                      <a:lnTo>
                        <a:pt x="114" y="131"/>
                      </a:lnTo>
                      <a:lnTo>
                        <a:pt x="108" y="134"/>
                      </a:lnTo>
                      <a:lnTo>
                        <a:pt x="103" y="138"/>
                      </a:lnTo>
                      <a:lnTo>
                        <a:pt x="96" y="139"/>
                      </a:lnTo>
                      <a:lnTo>
                        <a:pt x="90" y="141"/>
                      </a:lnTo>
                      <a:lnTo>
                        <a:pt x="83" y="142"/>
                      </a:lnTo>
                      <a:lnTo>
                        <a:pt x="76" y="142"/>
                      </a:lnTo>
                      <a:lnTo>
                        <a:pt x="70" y="142"/>
                      </a:lnTo>
                      <a:lnTo>
                        <a:pt x="63" y="141"/>
                      </a:lnTo>
                      <a:lnTo>
                        <a:pt x="56" y="139"/>
                      </a:lnTo>
                      <a:lnTo>
                        <a:pt x="50" y="138"/>
                      </a:lnTo>
                      <a:lnTo>
                        <a:pt x="45" y="134"/>
                      </a:lnTo>
                      <a:lnTo>
                        <a:pt x="39" y="131"/>
                      </a:lnTo>
                      <a:lnTo>
                        <a:pt x="33" y="127"/>
                      </a:lnTo>
                      <a:lnTo>
                        <a:pt x="28" y="122"/>
                      </a:lnTo>
                      <a:lnTo>
                        <a:pt x="23" y="118"/>
                      </a:lnTo>
                      <a:lnTo>
                        <a:pt x="20" y="113"/>
                      </a:lnTo>
                      <a:lnTo>
                        <a:pt x="15" y="107"/>
                      </a:lnTo>
                      <a:lnTo>
                        <a:pt x="12" y="101"/>
                      </a:lnTo>
                      <a:lnTo>
                        <a:pt x="11" y="95"/>
                      </a:lnTo>
                      <a:lnTo>
                        <a:pt x="9" y="88"/>
                      </a:lnTo>
                      <a:lnTo>
                        <a:pt x="8" y="82"/>
                      </a:lnTo>
                      <a:lnTo>
                        <a:pt x="8" y="76"/>
                      </a:lnTo>
                      <a:lnTo>
                        <a:pt x="8" y="69"/>
                      </a:lnTo>
                      <a:lnTo>
                        <a:pt x="9" y="63"/>
                      </a:lnTo>
                      <a:lnTo>
                        <a:pt x="11" y="56"/>
                      </a:lnTo>
                      <a:lnTo>
                        <a:pt x="12" y="50"/>
                      </a:lnTo>
                      <a:lnTo>
                        <a:pt x="15" y="44"/>
                      </a:lnTo>
                      <a:lnTo>
                        <a:pt x="20" y="38"/>
                      </a:lnTo>
                      <a:lnTo>
                        <a:pt x="23" y="33"/>
                      </a:lnTo>
                      <a:lnTo>
                        <a:pt x="28" y="29"/>
                      </a:lnTo>
                      <a:lnTo>
                        <a:pt x="33" y="23"/>
                      </a:lnTo>
                      <a:lnTo>
                        <a:pt x="39" y="19"/>
                      </a:lnTo>
                      <a:lnTo>
                        <a:pt x="45" y="16"/>
                      </a:lnTo>
                      <a:lnTo>
                        <a:pt x="50" y="12"/>
                      </a:lnTo>
                      <a:lnTo>
                        <a:pt x="56" y="11"/>
                      </a:lnTo>
                      <a:lnTo>
                        <a:pt x="63" y="9"/>
                      </a:lnTo>
                      <a:lnTo>
                        <a:pt x="70" y="8"/>
                      </a:lnTo>
                      <a:lnTo>
                        <a:pt x="76" y="8"/>
                      </a:lnTo>
                      <a:lnTo>
                        <a:pt x="76" y="0"/>
                      </a:lnTo>
                      <a:lnTo>
                        <a:pt x="84" y="0"/>
                      </a:lnTo>
                      <a:lnTo>
                        <a:pt x="92" y="1"/>
                      </a:lnTo>
                      <a:lnTo>
                        <a:pt x="98" y="3"/>
                      </a:lnTo>
                      <a:lnTo>
                        <a:pt x="106" y="5"/>
                      </a:lnTo>
                      <a:lnTo>
                        <a:pt x="112" y="9"/>
                      </a:lnTo>
                      <a:lnTo>
                        <a:pt x="118" y="12"/>
                      </a:lnTo>
                      <a:lnTo>
                        <a:pt x="125" y="17"/>
                      </a:lnTo>
                      <a:lnTo>
                        <a:pt x="131" y="22"/>
                      </a:lnTo>
                      <a:lnTo>
                        <a:pt x="136" y="28"/>
                      </a:lnTo>
                      <a:lnTo>
                        <a:pt x="140" y="34"/>
                      </a:lnTo>
                      <a:lnTo>
                        <a:pt x="144" y="40"/>
                      </a:lnTo>
                      <a:lnTo>
                        <a:pt x="148" y="47"/>
                      </a:lnTo>
                      <a:lnTo>
                        <a:pt x="150" y="54"/>
                      </a:lnTo>
                      <a:lnTo>
                        <a:pt x="152" y="61"/>
                      </a:lnTo>
                      <a:lnTo>
                        <a:pt x="153" y="68"/>
                      </a:lnTo>
                      <a:lnTo>
                        <a:pt x="153" y="76"/>
                      </a:lnTo>
                      <a:lnTo>
                        <a:pt x="153" y="83"/>
                      </a:lnTo>
                      <a:lnTo>
                        <a:pt x="152" y="90"/>
                      </a:lnTo>
                      <a:lnTo>
                        <a:pt x="150" y="97"/>
                      </a:lnTo>
                      <a:lnTo>
                        <a:pt x="148" y="104"/>
                      </a:lnTo>
                      <a:lnTo>
                        <a:pt x="144" y="111"/>
                      </a:lnTo>
                      <a:lnTo>
                        <a:pt x="140" y="117"/>
                      </a:lnTo>
                      <a:lnTo>
                        <a:pt x="136" y="123"/>
                      </a:lnTo>
                      <a:lnTo>
                        <a:pt x="131" y="128"/>
                      </a:lnTo>
                      <a:lnTo>
                        <a:pt x="125" y="133"/>
                      </a:lnTo>
                      <a:lnTo>
                        <a:pt x="118" y="138"/>
                      </a:lnTo>
                      <a:lnTo>
                        <a:pt x="112" y="141"/>
                      </a:lnTo>
                      <a:lnTo>
                        <a:pt x="106" y="145"/>
                      </a:lnTo>
                      <a:lnTo>
                        <a:pt x="98" y="147"/>
                      </a:lnTo>
                      <a:lnTo>
                        <a:pt x="92" y="149"/>
                      </a:lnTo>
                      <a:lnTo>
                        <a:pt x="84" y="151"/>
                      </a:lnTo>
                      <a:lnTo>
                        <a:pt x="76" y="151"/>
                      </a:lnTo>
                      <a:lnTo>
                        <a:pt x="69" y="151"/>
                      </a:lnTo>
                      <a:lnTo>
                        <a:pt x="61" y="149"/>
                      </a:lnTo>
                      <a:lnTo>
                        <a:pt x="54" y="147"/>
                      </a:lnTo>
                      <a:lnTo>
                        <a:pt x="47" y="145"/>
                      </a:lnTo>
                      <a:lnTo>
                        <a:pt x="41" y="141"/>
                      </a:lnTo>
                      <a:lnTo>
                        <a:pt x="34" y="138"/>
                      </a:lnTo>
                      <a:lnTo>
                        <a:pt x="28" y="133"/>
                      </a:lnTo>
                      <a:lnTo>
                        <a:pt x="22" y="128"/>
                      </a:lnTo>
                      <a:lnTo>
                        <a:pt x="17" y="123"/>
                      </a:lnTo>
                      <a:lnTo>
                        <a:pt x="12" y="117"/>
                      </a:lnTo>
                      <a:lnTo>
                        <a:pt x="8" y="111"/>
                      </a:lnTo>
                      <a:lnTo>
                        <a:pt x="5" y="104"/>
                      </a:lnTo>
                      <a:lnTo>
                        <a:pt x="3" y="97"/>
                      </a:lnTo>
                      <a:lnTo>
                        <a:pt x="1" y="90"/>
                      </a:lnTo>
                      <a:lnTo>
                        <a:pt x="0" y="83"/>
                      </a:lnTo>
                      <a:lnTo>
                        <a:pt x="0" y="76"/>
                      </a:lnTo>
                      <a:lnTo>
                        <a:pt x="0" y="68"/>
                      </a:lnTo>
                      <a:lnTo>
                        <a:pt x="1" y="61"/>
                      </a:lnTo>
                      <a:lnTo>
                        <a:pt x="3" y="54"/>
                      </a:lnTo>
                      <a:lnTo>
                        <a:pt x="5" y="47"/>
                      </a:lnTo>
                      <a:lnTo>
                        <a:pt x="8" y="40"/>
                      </a:lnTo>
                      <a:lnTo>
                        <a:pt x="12" y="34"/>
                      </a:lnTo>
                      <a:lnTo>
                        <a:pt x="17" y="28"/>
                      </a:lnTo>
                      <a:lnTo>
                        <a:pt x="22" y="22"/>
                      </a:lnTo>
                      <a:lnTo>
                        <a:pt x="28" y="17"/>
                      </a:lnTo>
                      <a:lnTo>
                        <a:pt x="34" y="12"/>
                      </a:lnTo>
                      <a:lnTo>
                        <a:pt x="41" y="9"/>
                      </a:lnTo>
                      <a:lnTo>
                        <a:pt x="47" y="5"/>
                      </a:lnTo>
                      <a:lnTo>
                        <a:pt x="54" y="3"/>
                      </a:lnTo>
                      <a:lnTo>
                        <a:pt x="61" y="1"/>
                      </a:lnTo>
                      <a:lnTo>
                        <a:pt x="69" y="0"/>
                      </a:lnTo>
                      <a:lnTo>
                        <a:pt x="76" y="0"/>
                      </a:lnTo>
                      <a:lnTo>
                        <a:pt x="76" y="8"/>
                      </a:lnTo>
                      <a:close/>
                    </a:path>
                  </a:pathLst>
                </a:custGeom>
                <a:solidFill>
                  <a:srgbClr val="000000"/>
                </a:solidFill>
                <a:ln w="9525">
                  <a:noFill/>
                  <a:round/>
                  <a:headEnd/>
                  <a:tailEnd/>
                </a:ln>
              </p:spPr>
              <p:txBody>
                <a:bodyPr/>
                <a:lstStyle/>
                <a:p>
                  <a:endParaRPr lang="ja-JP" altLang="en-US" sz="1600" b="1">
                    <a:latin typeface="Times New Roman" charset="0"/>
                    <a:cs typeface="Times New Roman" charset="0"/>
                  </a:endParaRPr>
                </a:p>
              </p:txBody>
            </p:sp>
            <p:sp>
              <p:nvSpPr>
                <p:cNvPr id="46189" name="Oval 99"/>
                <p:cNvSpPr>
                  <a:spLocks noChangeArrowheads="1"/>
                </p:cNvSpPr>
                <p:nvPr/>
              </p:nvSpPr>
              <p:spPr bwMode="auto">
                <a:xfrm>
                  <a:off x="2674" y="1302"/>
                  <a:ext cx="31" cy="25"/>
                </a:xfrm>
                <a:prstGeom prst="ellipse">
                  <a:avLst/>
                </a:prstGeom>
                <a:solidFill>
                  <a:srgbClr val="3F7FFF"/>
                </a:solidFill>
                <a:ln w="9525">
                  <a:noFill/>
                  <a:round/>
                  <a:headEnd/>
                  <a:tailEnd/>
                </a:ln>
              </p:spPr>
              <p:txBody>
                <a:bodyPr/>
                <a:lstStyle/>
                <a:p>
                  <a:endParaRPr lang="ja-JP" altLang="en-US" sz="1600" b="1">
                    <a:latin typeface="Times New Roman" charset="0"/>
                    <a:cs typeface="Times New Roman" charset="0"/>
                  </a:endParaRPr>
                </a:p>
              </p:txBody>
            </p:sp>
            <p:sp>
              <p:nvSpPr>
                <p:cNvPr id="46190" name="Freeform 100"/>
                <p:cNvSpPr>
                  <a:spLocks/>
                </p:cNvSpPr>
                <p:nvPr/>
              </p:nvSpPr>
              <p:spPr bwMode="auto">
                <a:xfrm>
                  <a:off x="2674" y="1302"/>
                  <a:ext cx="31" cy="25"/>
                </a:xfrm>
                <a:custGeom>
                  <a:avLst/>
                  <a:gdLst>
                    <a:gd name="T0" fmla="*/ 0 w 153"/>
                    <a:gd name="T1" fmla="*/ 0 h 150"/>
                    <a:gd name="T2" fmla="*/ 0 w 153"/>
                    <a:gd name="T3" fmla="*/ 0 h 150"/>
                    <a:gd name="T4" fmla="*/ 0 w 153"/>
                    <a:gd name="T5" fmla="*/ 0 h 150"/>
                    <a:gd name="T6" fmla="*/ 0 w 153"/>
                    <a:gd name="T7" fmla="*/ 0 h 150"/>
                    <a:gd name="T8" fmla="*/ 0 w 153"/>
                    <a:gd name="T9" fmla="*/ 0 h 150"/>
                    <a:gd name="T10" fmla="*/ 0 w 153"/>
                    <a:gd name="T11" fmla="*/ 0 h 150"/>
                    <a:gd name="T12" fmla="*/ 0 w 153"/>
                    <a:gd name="T13" fmla="*/ 0 h 150"/>
                    <a:gd name="T14" fmla="*/ 0 w 153"/>
                    <a:gd name="T15" fmla="*/ 0 h 150"/>
                    <a:gd name="T16" fmla="*/ 0 w 153"/>
                    <a:gd name="T17" fmla="*/ 0 h 150"/>
                    <a:gd name="T18" fmla="*/ 0 w 153"/>
                    <a:gd name="T19" fmla="*/ 0 h 150"/>
                    <a:gd name="T20" fmla="*/ 0 w 153"/>
                    <a:gd name="T21" fmla="*/ 0 h 150"/>
                    <a:gd name="T22" fmla="*/ 0 w 153"/>
                    <a:gd name="T23" fmla="*/ 0 h 150"/>
                    <a:gd name="T24" fmla="*/ 0 w 153"/>
                    <a:gd name="T25" fmla="*/ 0 h 150"/>
                    <a:gd name="T26" fmla="*/ 0 w 153"/>
                    <a:gd name="T27" fmla="*/ 0 h 150"/>
                    <a:gd name="T28" fmla="*/ 0 w 153"/>
                    <a:gd name="T29" fmla="*/ 0 h 150"/>
                    <a:gd name="T30" fmla="*/ 0 w 153"/>
                    <a:gd name="T31" fmla="*/ 0 h 150"/>
                    <a:gd name="T32" fmla="*/ 0 w 153"/>
                    <a:gd name="T33" fmla="*/ 0 h 150"/>
                    <a:gd name="T34" fmla="*/ 0 w 153"/>
                    <a:gd name="T35" fmla="*/ 0 h 150"/>
                    <a:gd name="T36" fmla="*/ 0 w 153"/>
                    <a:gd name="T37" fmla="*/ 0 h 150"/>
                    <a:gd name="T38" fmla="*/ 0 w 153"/>
                    <a:gd name="T39" fmla="*/ 0 h 150"/>
                    <a:gd name="T40" fmla="*/ 0 w 153"/>
                    <a:gd name="T41" fmla="*/ 0 h 150"/>
                    <a:gd name="T42" fmla="*/ 0 w 153"/>
                    <a:gd name="T43" fmla="*/ 0 h 150"/>
                    <a:gd name="T44" fmla="*/ 0 w 153"/>
                    <a:gd name="T45" fmla="*/ 0 h 150"/>
                    <a:gd name="T46" fmla="*/ 0 w 153"/>
                    <a:gd name="T47" fmla="*/ 0 h 150"/>
                    <a:gd name="T48" fmla="*/ 0 w 153"/>
                    <a:gd name="T49" fmla="*/ 0 h 150"/>
                    <a:gd name="T50" fmla="*/ 0 w 153"/>
                    <a:gd name="T51" fmla="*/ 0 h 150"/>
                    <a:gd name="T52" fmla="*/ 0 w 153"/>
                    <a:gd name="T53" fmla="*/ 0 h 150"/>
                    <a:gd name="T54" fmla="*/ 0 w 153"/>
                    <a:gd name="T55" fmla="*/ 0 h 150"/>
                    <a:gd name="T56" fmla="*/ 0 w 153"/>
                    <a:gd name="T57" fmla="*/ 0 h 150"/>
                    <a:gd name="T58" fmla="*/ 0 w 153"/>
                    <a:gd name="T59" fmla="*/ 0 h 150"/>
                    <a:gd name="T60" fmla="*/ 0 w 153"/>
                    <a:gd name="T61" fmla="*/ 0 h 150"/>
                    <a:gd name="T62" fmla="*/ 0 w 153"/>
                    <a:gd name="T63" fmla="*/ 0 h 150"/>
                    <a:gd name="T64" fmla="*/ 0 w 153"/>
                    <a:gd name="T65" fmla="*/ 0 h 150"/>
                    <a:gd name="T66" fmla="*/ 0 w 153"/>
                    <a:gd name="T67" fmla="*/ 0 h 150"/>
                    <a:gd name="T68" fmla="*/ 0 w 153"/>
                    <a:gd name="T69" fmla="*/ 0 h 150"/>
                    <a:gd name="T70" fmla="*/ 0 w 153"/>
                    <a:gd name="T71" fmla="*/ 0 h 150"/>
                    <a:gd name="T72" fmla="*/ 0 w 153"/>
                    <a:gd name="T73" fmla="*/ 0 h 150"/>
                    <a:gd name="T74" fmla="*/ 0 w 153"/>
                    <a:gd name="T75" fmla="*/ 0 h 150"/>
                    <a:gd name="T76" fmla="*/ 0 w 153"/>
                    <a:gd name="T77" fmla="*/ 0 h 150"/>
                    <a:gd name="T78" fmla="*/ 0 w 153"/>
                    <a:gd name="T79" fmla="*/ 0 h 150"/>
                    <a:gd name="T80" fmla="*/ 0 w 153"/>
                    <a:gd name="T81" fmla="*/ 0 h 150"/>
                    <a:gd name="T82" fmla="*/ 0 w 153"/>
                    <a:gd name="T83" fmla="*/ 0 h 150"/>
                    <a:gd name="T84" fmla="*/ 0 w 153"/>
                    <a:gd name="T85" fmla="*/ 0 h 150"/>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53"/>
                    <a:gd name="T130" fmla="*/ 0 h 150"/>
                    <a:gd name="T131" fmla="*/ 153 w 153"/>
                    <a:gd name="T132" fmla="*/ 150 h 150"/>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53" h="150">
                      <a:moveTo>
                        <a:pt x="77" y="8"/>
                      </a:moveTo>
                      <a:lnTo>
                        <a:pt x="83" y="8"/>
                      </a:lnTo>
                      <a:lnTo>
                        <a:pt x="90" y="9"/>
                      </a:lnTo>
                      <a:lnTo>
                        <a:pt x="97" y="11"/>
                      </a:lnTo>
                      <a:lnTo>
                        <a:pt x="103" y="12"/>
                      </a:lnTo>
                      <a:lnTo>
                        <a:pt x="108" y="16"/>
                      </a:lnTo>
                      <a:lnTo>
                        <a:pt x="115" y="19"/>
                      </a:lnTo>
                      <a:lnTo>
                        <a:pt x="120" y="23"/>
                      </a:lnTo>
                      <a:lnTo>
                        <a:pt x="125" y="28"/>
                      </a:lnTo>
                      <a:lnTo>
                        <a:pt x="130" y="32"/>
                      </a:lnTo>
                      <a:lnTo>
                        <a:pt x="133" y="37"/>
                      </a:lnTo>
                      <a:lnTo>
                        <a:pt x="138" y="43"/>
                      </a:lnTo>
                      <a:lnTo>
                        <a:pt x="141" y="49"/>
                      </a:lnTo>
                      <a:lnTo>
                        <a:pt x="142" y="55"/>
                      </a:lnTo>
                      <a:lnTo>
                        <a:pt x="144" y="62"/>
                      </a:lnTo>
                      <a:lnTo>
                        <a:pt x="145" y="68"/>
                      </a:lnTo>
                      <a:lnTo>
                        <a:pt x="145" y="75"/>
                      </a:lnTo>
                      <a:lnTo>
                        <a:pt x="145" y="81"/>
                      </a:lnTo>
                      <a:lnTo>
                        <a:pt x="144" y="87"/>
                      </a:lnTo>
                      <a:lnTo>
                        <a:pt x="142" y="94"/>
                      </a:lnTo>
                      <a:lnTo>
                        <a:pt x="141" y="100"/>
                      </a:lnTo>
                      <a:lnTo>
                        <a:pt x="138" y="106"/>
                      </a:lnTo>
                      <a:lnTo>
                        <a:pt x="133" y="113"/>
                      </a:lnTo>
                      <a:lnTo>
                        <a:pt x="130" y="118"/>
                      </a:lnTo>
                      <a:lnTo>
                        <a:pt x="125" y="122"/>
                      </a:lnTo>
                      <a:lnTo>
                        <a:pt x="120" y="127"/>
                      </a:lnTo>
                      <a:lnTo>
                        <a:pt x="115" y="131"/>
                      </a:lnTo>
                      <a:lnTo>
                        <a:pt x="108" y="134"/>
                      </a:lnTo>
                      <a:lnTo>
                        <a:pt x="103" y="138"/>
                      </a:lnTo>
                      <a:lnTo>
                        <a:pt x="97" y="139"/>
                      </a:lnTo>
                      <a:lnTo>
                        <a:pt x="90" y="141"/>
                      </a:lnTo>
                      <a:lnTo>
                        <a:pt x="83" y="142"/>
                      </a:lnTo>
                      <a:lnTo>
                        <a:pt x="77" y="142"/>
                      </a:lnTo>
                      <a:lnTo>
                        <a:pt x="71" y="142"/>
                      </a:lnTo>
                      <a:lnTo>
                        <a:pt x="63" y="141"/>
                      </a:lnTo>
                      <a:lnTo>
                        <a:pt x="57" y="139"/>
                      </a:lnTo>
                      <a:lnTo>
                        <a:pt x="51" y="138"/>
                      </a:lnTo>
                      <a:lnTo>
                        <a:pt x="45" y="134"/>
                      </a:lnTo>
                      <a:lnTo>
                        <a:pt x="39" y="131"/>
                      </a:lnTo>
                      <a:lnTo>
                        <a:pt x="34" y="127"/>
                      </a:lnTo>
                      <a:lnTo>
                        <a:pt x="29" y="122"/>
                      </a:lnTo>
                      <a:lnTo>
                        <a:pt x="23" y="118"/>
                      </a:lnTo>
                      <a:lnTo>
                        <a:pt x="20" y="113"/>
                      </a:lnTo>
                      <a:lnTo>
                        <a:pt x="16" y="106"/>
                      </a:lnTo>
                      <a:lnTo>
                        <a:pt x="13" y="100"/>
                      </a:lnTo>
                      <a:lnTo>
                        <a:pt x="12" y="94"/>
                      </a:lnTo>
                      <a:lnTo>
                        <a:pt x="10" y="87"/>
                      </a:lnTo>
                      <a:lnTo>
                        <a:pt x="9" y="81"/>
                      </a:lnTo>
                      <a:lnTo>
                        <a:pt x="9" y="75"/>
                      </a:lnTo>
                      <a:lnTo>
                        <a:pt x="9" y="68"/>
                      </a:lnTo>
                      <a:lnTo>
                        <a:pt x="10" y="62"/>
                      </a:lnTo>
                      <a:lnTo>
                        <a:pt x="12" y="55"/>
                      </a:lnTo>
                      <a:lnTo>
                        <a:pt x="13" y="49"/>
                      </a:lnTo>
                      <a:lnTo>
                        <a:pt x="16" y="43"/>
                      </a:lnTo>
                      <a:lnTo>
                        <a:pt x="20" y="37"/>
                      </a:lnTo>
                      <a:lnTo>
                        <a:pt x="23" y="32"/>
                      </a:lnTo>
                      <a:lnTo>
                        <a:pt x="29" y="28"/>
                      </a:lnTo>
                      <a:lnTo>
                        <a:pt x="34" y="23"/>
                      </a:lnTo>
                      <a:lnTo>
                        <a:pt x="39" y="19"/>
                      </a:lnTo>
                      <a:lnTo>
                        <a:pt x="45" y="16"/>
                      </a:lnTo>
                      <a:lnTo>
                        <a:pt x="51" y="12"/>
                      </a:lnTo>
                      <a:lnTo>
                        <a:pt x="57" y="11"/>
                      </a:lnTo>
                      <a:lnTo>
                        <a:pt x="63" y="9"/>
                      </a:lnTo>
                      <a:lnTo>
                        <a:pt x="71" y="8"/>
                      </a:lnTo>
                      <a:lnTo>
                        <a:pt x="77" y="8"/>
                      </a:lnTo>
                      <a:lnTo>
                        <a:pt x="77" y="0"/>
                      </a:lnTo>
                      <a:lnTo>
                        <a:pt x="84" y="0"/>
                      </a:lnTo>
                      <a:lnTo>
                        <a:pt x="93" y="1"/>
                      </a:lnTo>
                      <a:lnTo>
                        <a:pt x="99" y="3"/>
                      </a:lnTo>
                      <a:lnTo>
                        <a:pt x="106" y="5"/>
                      </a:lnTo>
                      <a:lnTo>
                        <a:pt x="113" y="9"/>
                      </a:lnTo>
                      <a:lnTo>
                        <a:pt x="119" y="12"/>
                      </a:lnTo>
                      <a:lnTo>
                        <a:pt x="125" y="17"/>
                      </a:lnTo>
                      <a:lnTo>
                        <a:pt x="131" y="22"/>
                      </a:lnTo>
                      <a:lnTo>
                        <a:pt x="137" y="27"/>
                      </a:lnTo>
                      <a:lnTo>
                        <a:pt x="141" y="33"/>
                      </a:lnTo>
                      <a:lnTo>
                        <a:pt x="145" y="39"/>
                      </a:lnTo>
                      <a:lnTo>
                        <a:pt x="148" y="46"/>
                      </a:lnTo>
                      <a:lnTo>
                        <a:pt x="150" y="53"/>
                      </a:lnTo>
                      <a:lnTo>
                        <a:pt x="152" y="60"/>
                      </a:lnTo>
                      <a:lnTo>
                        <a:pt x="153" y="67"/>
                      </a:lnTo>
                      <a:lnTo>
                        <a:pt x="153" y="75"/>
                      </a:lnTo>
                      <a:lnTo>
                        <a:pt x="153" y="82"/>
                      </a:lnTo>
                      <a:lnTo>
                        <a:pt x="152" y="89"/>
                      </a:lnTo>
                      <a:lnTo>
                        <a:pt x="150" y="96"/>
                      </a:lnTo>
                      <a:lnTo>
                        <a:pt x="148" y="103"/>
                      </a:lnTo>
                      <a:lnTo>
                        <a:pt x="145" y="110"/>
                      </a:lnTo>
                      <a:lnTo>
                        <a:pt x="141" y="117"/>
                      </a:lnTo>
                      <a:lnTo>
                        <a:pt x="137" y="123"/>
                      </a:lnTo>
                      <a:lnTo>
                        <a:pt x="131" y="128"/>
                      </a:lnTo>
                      <a:lnTo>
                        <a:pt x="125" y="133"/>
                      </a:lnTo>
                      <a:lnTo>
                        <a:pt x="119" y="138"/>
                      </a:lnTo>
                      <a:lnTo>
                        <a:pt x="113" y="141"/>
                      </a:lnTo>
                      <a:lnTo>
                        <a:pt x="106" y="145"/>
                      </a:lnTo>
                      <a:lnTo>
                        <a:pt x="99" y="147"/>
                      </a:lnTo>
                      <a:lnTo>
                        <a:pt x="93" y="149"/>
                      </a:lnTo>
                      <a:lnTo>
                        <a:pt x="84" y="150"/>
                      </a:lnTo>
                      <a:lnTo>
                        <a:pt x="77" y="150"/>
                      </a:lnTo>
                      <a:lnTo>
                        <a:pt x="70" y="150"/>
                      </a:lnTo>
                      <a:lnTo>
                        <a:pt x="61" y="149"/>
                      </a:lnTo>
                      <a:lnTo>
                        <a:pt x="55" y="147"/>
                      </a:lnTo>
                      <a:lnTo>
                        <a:pt x="48" y="145"/>
                      </a:lnTo>
                      <a:lnTo>
                        <a:pt x="41" y="141"/>
                      </a:lnTo>
                      <a:lnTo>
                        <a:pt x="35" y="138"/>
                      </a:lnTo>
                      <a:lnTo>
                        <a:pt x="29" y="133"/>
                      </a:lnTo>
                      <a:lnTo>
                        <a:pt x="22" y="128"/>
                      </a:lnTo>
                      <a:lnTo>
                        <a:pt x="17" y="123"/>
                      </a:lnTo>
                      <a:lnTo>
                        <a:pt x="13" y="117"/>
                      </a:lnTo>
                      <a:lnTo>
                        <a:pt x="9" y="110"/>
                      </a:lnTo>
                      <a:lnTo>
                        <a:pt x="6" y="103"/>
                      </a:lnTo>
                      <a:lnTo>
                        <a:pt x="3" y="96"/>
                      </a:lnTo>
                      <a:lnTo>
                        <a:pt x="1" y="89"/>
                      </a:lnTo>
                      <a:lnTo>
                        <a:pt x="0" y="82"/>
                      </a:lnTo>
                      <a:lnTo>
                        <a:pt x="0" y="75"/>
                      </a:lnTo>
                      <a:lnTo>
                        <a:pt x="0" y="67"/>
                      </a:lnTo>
                      <a:lnTo>
                        <a:pt x="1" y="60"/>
                      </a:lnTo>
                      <a:lnTo>
                        <a:pt x="3" y="53"/>
                      </a:lnTo>
                      <a:lnTo>
                        <a:pt x="6" y="46"/>
                      </a:lnTo>
                      <a:lnTo>
                        <a:pt x="9" y="39"/>
                      </a:lnTo>
                      <a:lnTo>
                        <a:pt x="13" y="33"/>
                      </a:lnTo>
                      <a:lnTo>
                        <a:pt x="17" y="27"/>
                      </a:lnTo>
                      <a:lnTo>
                        <a:pt x="22" y="22"/>
                      </a:lnTo>
                      <a:lnTo>
                        <a:pt x="29" y="17"/>
                      </a:lnTo>
                      <a:lnTo>
                        <a:pt x="35" y="12"/>
                      </a:lnTo>
                      <a:lnTo>
                        <a:pt x="41" y="9"/>
                      </a:lnTo>
                      <a:lnTo>
                        <a:pt x="48" y="5"/>
                      </a:lnTo>
                      <a:lnTo>
                        <a:pt x="55" y="3"/>
                      </a:lnTo>
                      <a:lnTo>
                        <a:pt x="61" y="1"/>
                      </a:lnTo>
                      <a:lnTo>
                        <a:pt x="70" y="0"/>
                      </a:lnTo>
                      <a:lnTo>
                        <a:pt x="77" y="0"/>
                      </a:lnTo>
                      <a:lnTo>
                        <a:pt x="77" y="8"/>
                      </a:lnTo>
                      <a:close/>
                    </a:path>
                  </a:pathLst>
                </a:custGeom>
                <a:solidFill>
                  <a:srgbClr val="000000"/>
                </a:solidFill>
                <a:ln w="9525">
                  <a:noFill/>
                  <a:round/>
                  <a:headEnd/>
                  <a:tailEnd/>
                </a:ln>
              </p:spPr>
              <p:txBody>
                <a:bodyPr/>
                <a:lstStyle/>
                <a:p>
                  <a:endParaRPr lang="ja-JP" altLang="en-US" sz="1600" b="1">
                    <a:latin typeface="Times New Roman" charset="0"/>
                    <a:cs typeface="Times New Roman" charset="0"/>
                  </a:endParaRPr>
                </a:p>
              </p:txBody>
            </p:sp>
            <p:sp>
              <p:nvSpPr>
                <p:cNvPr id="46191" name="Freeform 101"/>
                <p:cNvSpPr>
                  <a:spLocks/>
                </p:cNvSpPr>
                <p:nvPr/>
              </p:nvSpPr>
              <p:spPr bwMode="auto">
                <a:xfrm>
                  <a:off x="2424" y="1362"/>
                  <a:ext cx="239" cy="173"/>
                </a:xfrm>
                <a:custGeom>
                  <a:avLst/>
                  <a:gdLst>
                    <a:gd name="T0" fmla="*/ 0 w 1195"/>
                    <a:gd name="T1" fmla="*/ 0 h 1036"/>
                    <a:gd name="T2" fmla="*/ 0 w 1195"/>
                    <a:gd name="T3" fmla="*/ 0 h 1036"/>
                    <a:gd name="T4" fmla="*/ 0 w 1195"/>
                    <a:gd name="T5" fmla="*/ 0 h 1036"/>
                    <a:gd name="T6" fmla="*/ 0 w 1195"/>
                    <a:gd name="T7" fmla="*/ 0 h 1036"/>
                    <a:gd name="T8" fmla="*/ 0 w 1195"/>
                    <a:gd name="T9" fmla="*/ 0 h 1036"/>
                    <a:gd name="T10" fmla="*/ 0 60000 65536"/>
                    <a:gd name="T11" fmla="*/ 0 60000 65536"/>
                    <a:gd name="T12" fmla="*/ 0 60000 65536"/>
                    <a:gd name="T13" fmla="*/ 0 60000 65536"/>
                    <a:gd name="T14" fmla="*/ 0 60000 65536"/>
                    <a:gd name="T15" fmla="*/ 0 w 1195"/>
                    <a:gd name="T16" fmla="*/ 0 h 1036"/>
                    <a:gd name="T17" fmla="*/ 1195 w 1195"/>
                    <a:gd name="T18" fmla="*/ 1036 h 1036"/>
                  </a:gdLst>
                  <a:ahLst/>
                  <a:cxnLst>
                    <a:cxn ang="T10">
                      <a:pos x="T0" y="T1"/>
                    </a:cxn>
                    <a:cxn ang="T11">
                      <a:pos x="T2" y="T3"/>
                    </a:cxn>
                    <a:cxn ang="T12">
                      <a:pos x="T4" y="T5"/>
                    </a:cxn>
                    <a:cxn ang="T13">
                      <a:pos x="T6" y="T7"/>
                    </a:cxn>
                    <a:cxn ang="T14">
                      <a:pos x="T8" y="T9"/>
                    </a:cxn>
                  </a:cxnLst>
                  <a:rect l="T15" t="T16" r="T17" b="T18"/>
                  <a:pathLst>
                    <a:path w="1195" h="1036">
                      <a:moveTo>
                        <a:pt x="0" y="480"/>
                      </a:moveTo>
                      <a:lnTo>
                        <a:pt x="855" y="0"/>
                      </a:lnTo>
                      <a:lnTo>
                        <a:pt x="1195" y="555"/>
                      </a:lnTo>
                      <a:lnTo>
                        <a:pt x="340" y="1036"/>
                      </a:lnTo>
                      <a:lnTo>
                        <a:pt x="0" y="480"/>
                      </a:lnTo>
                      <a:close/>
                    </a:path>
                  </a:pathLst>
                </a:custGeom>
                <a:solidFill>
                  <a:srgbClr val="7F7F7F"/>
                </a:solidFill>
                <a:ln w="9525">
                  <a:noFill/>
                  <a:round/>
                  <a:headEnd/>
                  <a:tailEnd/>
                </a:ln>
              </p:spPr>
              <p:txBody>
                <a:bodyPr/>
                <a:lstStyle/>
                <a:p>
                  <a:endParaRPr lang="ja-JP" altLang="en-US" sz="1600" b="1">
                    <a:latin typeface="Times New Roman" charset="0"/>
                    <a:cs typeface="Times New Roman" charset="0"/>
                  </a:endParaRPr>
                </a:p>
              </p:txBody>
            </p:sp>
            <p:sp>
              <p:nvSpPr>
                <p:cNvPr id="46192" name="Freeform 102"/>
                <p:cNvSpPr>
                  <a:spLocks/>
                </p:cNvSpPr>
                <p:nvPr/>
              </p:nvSpPr>
              <p:spPr bwMode="auto">
                <a:xfrm>
                  <a:off x="2424" y="1362"/>
                  <a:ext cx="239" cy="173"/>
                </a:xfrm>
                <a:custGeom>
                  <a:avLst/>
                  <a:gdLst>
                    <a:gd name="T0" fmla="*/ 0 w 1195"/>
                    <a:gd name="T1" fmla="*/ 0 h 1036"/>
                    <a:gd name="T2" fmla="*/ 0 w 1195"/>
                    <a:gd name="T3" fmla="*/ 0 h 1036"/>
                    <a:gd name="T4" fmla="*/ 0 w 1195"/>
                    <a:gd name="T5" fmla="*/ 0 h 1036"/>
                    <a:gd name="T6" fmla="*/ 0 w 1195"/>
                    <a:gd name="T7" fmla="*/ 0 h 1036"/>
                    <a:gd name="T8" fmla="*/ 0 w 1195"/>
                    <a:gd name="T9" fmla="*/ 0 h 1036"/>
                    <a:gd name="T10" fmla="*/ 0 60000 65536"/>
                    <a:gd name="T11" fmla="*/ 0 60000 65536"/>
                    <a:gd name="T12" fmla="*/ 0 60000 65536"/>
                    <a:gd name="T13" fmla="*/ 0 60000 65536"/>
                    <a:gd name="T14" fmla="*/ 0 60000 65536"/>
                    <a:gd name="T15" fmla="*/ 0 w 1195"/>
                    <a:gd name="T16" fmla="*/ 0 h 1036"/>
                    <a:gd name="T17" fmla="*/ 1195 w 1195"/>
                    <a:gd name="T18" fmla="*/ 1036 h 1036"/>
                  </a:gdLst>
                  <a:ahLst/>
                  <a:cxnLst>
                    <a:cxn ang="T10">
                      <a:pos x="T0" y="T1"/>
                    </a:cxn>
                    <a:cxn ang="T11">
                      <a:pos x="T2" y="T3"/>
                    </a:cxn>
                    <a:cxn ang="T12">
                      <a:pos x="T4" y="T5"/>
                    </a:cxn>
                    <a:cxn ang="T13">
                      <a:pos x="T6" y="T7"/>
                    </a:cxn>
                    <a:cxn ang="T14">
                      <a:pos x="T8" y="T9"/>
                    </a:cxn>
                  </a:cxnLst>
                  <a:rect l="T15" t="T16" r="T17" b="T18"/>
                  <a:pathLst>
                    <a:path w="1195" h="1036">
                      <a:moveTo>
                        <a:pt x="0" y="480"/>
                      </a:moveTo>
                      <a:lnTo>
                        <a:pt x="855" y="0"/>
                      </a:lnTo>
                      <a:lnTo>
                        <a:pt x="1195" y="555"/>
                      </a:lnTo>
                      <a:lnTo>
                        <a:pt x="340" y="1036"/>
                      </a:lnTo>
                      <a:lnTo>
                        <a:pt x="0" y="480"/>
                      </a:lnTo>
                      <a:close/>
                    </a:path>
                  </a:pathLst>
                </a:custGeom>
                <a:noFill/>
                <a:ln w="3175">
                  <a:solidFill>
                    <a:srgbClr val="000000"/>
                  </a:solidFill>
                  <a:round/>
                  <a:headEnd/>
                  <a:tailEnd/>
                </a:ln>
              </p:spPr>
              <p:txBody>
                <a:bodyPr/>
                <a:lstStyle/>
                <a:p>
                  <a:endParaRPr lang="ja-JP" altLang="en-US" sz="1600" b="1">
                    <a:latin typeface="Times New Roman" charset="0"/>
                    <a:cs typeface="Times New Roman" charset="0"/>
                  </a:endParaRPr>
                </a:p>
              </p:txBody>
            </p:sp>
            <p:sp>
              <p:nvSpPr>
                <p:cNvPr id="46193" name="Line 103"/>
                <p:cNvSpPr>
                  <a:spLocks noChangeShapeType="1"/>
                </p:cNvSpPr>
                <p:nvPr/>
              </p:nvSpPr>
              <p:spPr bwMode="auto">
                <a:xfrm>
                  <a:off x="2566" y="1376"/>
                  <a:ext cx="68" cy="93"/>
                </a:xfrm>
                <a:prstGeom prst="line">
                  <a:avLst/>
                </a:prstGeom>
                <a:noFill/>
                <a:ln w="3175">
                  <a:solidFill>
                    <a:srgbClr val="000000"/>
                  </a:solidFill>
                  <a:round/>
                  <a:headEnd/>
                  <a:tailEnd/>
                </a:ln>
              </p:spPr>
              <p:txBody>
                <a:bodyPr/>
                <a:lstStyle/>
                <a:p>
                  <a:endParaRPr lang="en-US" sz="1600" b="1"/>
                </a:p>
              </p:txBody>
            </p:sp>
            <p:sp>
              <p:nvSpPr>
                <p:cNvPr id="46194" name="Line 104"/>
                <p:cNvSpPr>
                  <a:spLocks noChangeShapeType="1"/>
                </p:cNvSpPr>
                <p:nvPr/>
              </p:nvSpPr>
              <p:spPr bwMode="auto">
                <a:xfrm>
                  <a:off x="2538" y="1390"/>
                  <a:ext cx="67" cy="91"/>
                </a:xfrm>
                <a:prstGeom prst="line">
                  <a:avLst/>
                </a:prstGeom>
                <a:noFill/>
                <a:ln w="3175">
                  <a:solidFill>
                    <a:srgbClr val="000000"/>
                  </a:solidFill>
                  <a:round/>
                  <a:headEnd/>
                  <a:tailEnd/>
                </a:ln>
              </p:spPr>
              <p:txBody>
                <a:bodyPr/>
                <a:lstStyle/>
                <a:p>
                  <a:endParaRPr lang="en-US" sz="1600" b="1"/>
                </a:p>
              </p:txBody>
            </p:sp>
            <p:sp>
              <p:nvSpPr>
                <p:cNvPr id="46195" name="Line 105"/>
                <p:cNvSpPr>
                  <a:spLocks noChangeShapeType="1"/>
                </p:cNvSpPr>
                <p:nvPr/>
              </p:nvSpPr>
              <p:spPr bwMode="auto">
                <a:xfrm>
                  <a:off x="2510" y="1403"/>
                  <a:ext cx="67" cy="91"/>
                </a:xfrm>
                <a:prstGeom prst="line">
                  <a:avLst/>
                </a:prstGeom>
                <a:noFill/>
                <a:ln w="3175">
                  <a:solidFill>
                    <a:srgbClr val="000000"/>
                  </a:solidFill>
                  <a:round/>
                  <a:headEnd/>
                  <a:tailEnd/>
                </a:ln>
              </p:spPr>
              <p:txBody>
                <a:bodyPr/>
                <a:lstStyle/>
                <a:p>
                  <a:endParaRPr lang="en-US" sz="1600" b="1"/>
                </a:p>
              </p:txBody>
            </p:sp>
            <p:sp>
              <p:nvSpPr>
                <p:cNvPr id="46196" name="Line 106"/>
                <p:cNvSpPr>
                  <a:spLocks noChangeShapeType="1"/>
                </p:cNvSpPr>
                <p:nvPr/>
              </p:nvSpPr>
              <p:spPr bwMode="auto">
                <a:xfrm>
                  <a:off x="2481" y="1415"/>
                  <a:ext cx="68" cy="93"/>
                </a:xfrm>
                <a:prstGeom prst="line">
                  <a:avLst/>
                </a:prstGeom>
                <a:noFill/>
                <a:ln w="3175">
                  <a:solidFill>
                    <a:srgbClr val="000000"/>
                  </a:solidFill>
                  <a:round/>
                  <a:headEnd/>
                  <a:tailEnd/>
                </a:ln>
              </p:spPr>
              <p:txBody>
                <a:bodyPr/>
                <a:lstStyle/>
                <a:p>
                  <a:endParaRPr lang="en-US" sz="1600" b="1"/>
                </a:p>
              </p:txBody>
            </p:sp>
            <p:sp>
              <p:nvSpPr>
                <p:cNvPr id="46197" name="Line 107"/>
                <p:cNvSpPr>
                  <a:spLocks noChangeShapeType="1"/>
                </p:cNvSpPr>
                <p:nvPr/>
              </p:nvSpPr>
              <p:spPr bwMode="auto">
                <a:xfrm>
                  <a:off x="2454" y="1429"/>
                  <a:ext cx="66" cy="92"/>
                </a:xfrm>
                <a:prstGeom prst="line">
                  <a:avLst/>
                </a:prstGeom>
                <a:noFill/>
                <a:ln w="3175">
                  <a:solidFill>
                    <a:srgbClr val="000000"/>
                  </a:solidFill>
                  <a:round/>
                  <a:headEnd/>
                  <a:tailEnd/>
                </a:ln>
              </p:spPr>
              <p:txBody>
                <a:bodyPr/>
                <a:lstStyle/>
                <a:p>
                  <a:endParaRPr lang="en-US" sz="1600" b="1"/>
                </a:p>
              </p:txBody>
            </p:sp>
            <p:sp>
              <p:nvSpPr>
                <p:cNvPr id="46198" name="Line 108"/>
                <p:cNvSpPr>
                  <a:spLocks noChangeShapeType="1"/>
                </p:cNvSpPr>
                <p:nvPr/>
              </p:nvSpPr>
              <p:spPr bwMode="auto">
                <a:xfrm flipV="1">
                  <a:off x="2439" y="1382"/>
                  <a:ext cx="169" cy="78"/>
                </a:xfrm>
                <a:prstGeom prst="line">
                  <a:avLst/>
                </a:prstGeom>
                <a:noFill/>
                <a:ln w="3175">
                  <a:solidFill>
                    <a:srgbClr val="000000"/>
                  </a:solidFill>
                  <a:round/>
                  <a:headEnd/>
                  <a:tailEnd/>
                </a:ln>
              </p:spPr>
              <p:txBody>
                <a:bodyPr/>
                <a:lstStyle/>
                <a:p>
                  <a:endParaRPr lang="en-US" sz="1600" b="1"/>
                </a:p>
              </p:txBody>
            </p:sp>
            <p:sp>
              <p:nvSpPr>
                <p:cNvPr id="46199" name="Line 109"/>
                <p:cNvSpPr>
                  <a:spLocks noChangeShapeType="1"/>
                </p:cNvSpPr>
                <p:nvPr/>
              </p:nvSpPr>
              <p:spPr bwMode="auto">
                <a:xfrm flipV="1">
                  <a:off x="2453" y="1400"/>
                  <a:ext cx="167" cy="78"/>
                </a:xfrm>
                <a:prstGeom prst="line">
                  <a:avLst/>
                </a:prstGeom>
                <a:noFill/>
                <a:ln w="3175">
                  <a:solidFill>
                    <a:srgbClr val="000000"/>
                  </a:solidFill>
                  <a:round/>
                  <a:headEnd/>
                  <a:tailEnd/>
                </a:ln>
              </p:spPr>
              <p:txBody>
                <a:bodyPr/>
                <a:lstStyle/>
                <a:p>
                  <a:endParaRPr lang="en-US" sz="1600" b="1"/>
                </a:p>
              </p:txBody>
            </p:sp>
            <p:sp>
              <p:nvSpPr>
                <p:cNvPr id="46200" name="Line 110"/>
                <p:cNvSpPr>
                  <a:spLocks noChangeShapeType="1"/>
                </p:cNvSpPr>
                <p:nvPr/>
              </p:nvSpPr>
              <p:spPr bwMode="auto">
                <a:xfrm flipV="1">
                  <a:off x="2466" y="1418"/>
                  <a:ext cx="168" cy="79"/>
                </a:xfrm>
                <a:prstGeom prst="line">
                  <a:avLst/>
                </a:prstGeom>
                <a:noFill/>
                <a:ln w="3175">
                  <a:solidFill>
                    <a:srgbClr val="000000"/>
                  </a:solidFill>
                  <a:round/>
                  <a:headEnd/>
                  <a:tailEnd/>
                </a:ln>
              </p:spPr>
              <p:txBody>
                <a:bodyPr/>
                <a:lstStyle/>
                <a:p>
                  <a:endParaRPr lang="en-US" sz="1600" b="1"/>
                </a:p>
              </p:txBody>
            </p:sp>
            <p:sp>
              <p:nvSpPr>
                <p:cNvPr id="46201" name="Line 111"/>
                <p:cNvSpPr>
                  <a:spLocks noChangeShapeType="1"/>
                </p:cNvSpPr>
                <p:nvPr/>
              </p:nvSpPr>
              <p:spPr bwMode="auto">
                <a:xfrm flipV="1">
                  <a:off x="2479" y="1436"/>
                  <a:ext cx="168" cy="79"/>
                </a:xfrm>
                <a:prstGeom prst="line">
                  <a:avLst/>
                </a:prstGeom>
                <a:noFill/>
                <a:ln w="3175">
                  <a:solidFill>
                    <a:srgbClr val="000000"/>
                  </a:solidFill>
                  <a:round/>
                  <a:headEnd/>
                  <a:tailEnd/>
                </a:ln>
              </p:spPr>
              <p:txBody>
                <a:bodyPr/>
                <a:lstStyle/>
                <a:p>
                  <a:endParaRPr lang="en-US" sz="1600" b="1"/>
                </a:p>
              </p:txBody>
            </p:sp>
            <p:sp>
              <p:nvSpPr>
                <p:cNvPr id="46202" name="Freeform 112"/>
                <p:cNvSpPr>
                  <a:spLocks/>
                </p:cNvSpPr>
                <p:nvPr/>
              </p:nvSpPr>
              <p:spPr bwMode="auto">
                <a:xfrm>
                  <a:off x="2774" y="1209"/>
                  <a:ext cx="239" cy="172"/>
                </a:xfrm>
                <a:custGeom>
                  <a:avLst/>
                  <a:gdLst>
                    <a:gd name="T0" fmla="*/ 0 w 1194"/>
                    <a:gd name="T1" fmla="*/ 0 h 1036"/>
                    <a:gd name="T2" fmla="*/ 0 w 1194"/>
                    <a:gd name="T3" fmla="*/ 0 h 1036"/>
                    <a:gd name="T4" fmla="*/ 0 w 1194"/>
                    <a:gd name="T5" fmla="*/ 0 h 1036"/>
                    <a:gd name="T6" fmla="*/ 0 w 1194"/>
                    <a:gd name="T7" fmla="*/ 0 h 1036"/>
                    <a:gd name="T8" fmla="*/ 0 w 1194"/>
                    <a:gd name="T9" fmla="*/ 0 h 1036"/>
                    <a:gd name="T10" fmla="*/ 0 60000 65536"/>
                    <a:gd name="T11" fmla="*/ 0 60000 65536"/>
                    <a:gd name="T12" fmla="*/ 0 60000 65536"/>
                    <a:gd name="T13" fmla="*/ 0 60000 65536"/>
                    <a:gd name="T14" fmla="*/ 0 60000 65536"/>
                    <a:gd name="T15" fmla="*/ 0 w 1194"/>
                    <a:gd name="T16" fmla="*/ 0 h 1036"/>
                    <a:gd name="T17" fmla="*/ 1194 w 1194"/>
                    <a:gd name="T18" fmla="*/ 1036 h 1036"/>
                  </a:gdLst>
                  <a:ahLst/>
                  <a:cxnLst>
                    <a:cxn ang="T10">
                      <a:pos x="T0" y="T1"/>
                    </a:cxn>
                    <a:cxn ang="T11">
                      <a:pos x="T2" y="T3"/>
                    </a:cxn>
                    <a:cxn ang="T12">
                      <a:pos x="T4" y="T5"/>
                    </a:cxn>
                    <a:cxn ang="T13">
                      <a:pos x="T6" y="T7"/>
                    </a:cxn>
                    <a:cxn ang="T14">
                      <a:pos x="T8" y="T9"/>
                    </a:cxn>
                  </a:cxnLst>
                  <a:rect l="T15" t="T16" r="T17" b="T18"/>
                  <a:pathLst>
                    <a:path w="1194" h="1036">
                      <a:moveTo>
                        <a:pt x="0" y="481"/>
                      </a:moveTo>
                      <a:lnTo>
                        <a:pt x="855" y="0"/>
                      </a:lnTo>
                      <a:lnTo>
                        <a:pt x="1194" y="556"/>
                      </a:lnTo>
                      <a:lnTo>
                        <a:pt x="340" y="1036"/>
                      </a:lnTo>
                      <a:lnTo>
                        <a:pt x="0" y="481"/>
                      </a:lnTo>
                      <a:close/>
                    </a:path>
                  </a:pathLst>
                </a:custGeom>
                <a:solidFill>
                  <a:srgbClr val="7F7F7F"/>
                </a:solidFill>
                <a:ln w="9525">
                  <a:noFill/>
                  <a:round/>
                  <a:headEnd/>
                  <a:tailEnd/>
                </a:ln>
              </p:spPr>
              <p:txBody>
                <a:bodyPr/>
                <a:lstStyle/>
                <a:p>
                  <a:endParaRPr lang="ja-JP" altLang="en-US" sz="1600" b="1">
                    <a:latin typeface="Times New Roman" charset="0"/>
                    <a:cs typeface="Times New Roman" charset="0"/>
                  </a:endParaRPr>
                </a:p>
              </p:txBody>
            </p:sp>
            <p:sp>
              <p:nvSpPr>
                <p:cNvPr id="46203" name="Freeform 113"/>
                <p:cNvSpPr>
                  <a:spLocks/>
                </p:cNvSpPr>
                <p:nvPr/>
              </p:nvSpPr>
              <p:spPr bwMode="auto">
                <a:xfrm>
                  <a:off x="2774" y="1209"/>
                  <a:ext cx="239" cy="172"/>
                </a:xfrm>
                <a:custGeom>
                  <a:avLst/>
                  <a:gdLst>
                    <a:gd name="T0" fmla="*/ 0 w 1194"/>
                    <a:gd name="T1" fmla="*/ 0 h 1036"/>
                    <a:gd name="T2" fmla="*/ 0 w 1194"/>
                    <a:gd name="T3" fmla="*/ 0 h 1036"/>
                    <a:gd name="T4" fmla="*/ 0 w 1194"/>
                    <a:gd name="T5" fmla="*/ 0 h 1036"/>
                    <a:gd name="T6" fmla="*/ 0 w 1194"/>
                    <a:gd name="T7" fmla="*/ 0 h 1036"/>
                    <a:gd name="T8" fmla="*/ 0 w 1194"/>
                    <a:gd name="T9" fmla="*/ 0 h 1036"/>
                    <a:gd name="T10" fmla="*/ 0 60000 65536"/>
                    <a:gd name="T11" fmla="*/ 0 60000 65536"/>
                    <a:gd name="T12" fmla="*/ 0 60000 65536"/>
                    <a:gd name="T13" fmla="*/ 0 60000 65536"/>
                    <a:gd name="T14" fmla="*/ 0 60000 65536"/>
                    <a:gd name="T15" fmla="*/ 0 w 1194"/>
                    <a:gd name="T16" fmla="*/ 0 h 1036"/>
                    <a:gd name="T17" fmla="*/ 1194 w 1194"/>
                    <a:gd name="T18" fmla="*/ 1036 h 1036"/>
                  </a:gdLst>
                  <a:ahLst/>
                  <a:cxnLst>
                    <a:cxn ang="T10">
                      <a:pos x="T0" y="T1"/>
                    </a:cxn>
                    <a:cxn ang="T11">
                      <a:pos x="T2" y="T3"/>
                    </a:cxn>
                    <a:cxn ang="T12">
                      <a:pos x="T4" y="T5"/>
                    </a:cxn>
                    <a:cxn ang="T13">
                      <a:pos x="T6" y="T7"/>
                    </a:cxn>
                    <a:cxn ang="T14">
                      <a:pos x="T8" y="T9"/>
                    </a:cxn>
                  </a:cxnLst>
                  <a:rect l="T15" t="T16" r="T17" b="T18"/>
                  <a:pathLst>
                    <a:path w="1194" h="1036">
                      <a:moveTo>
                        <a:pt x="0" y="481"/>
                      </a:moveTo>
                      <a:lnTo>
                        <a:pt x="855" y="0"/>
                      </a:lnTo>
                      <a:lnTo>
                        <a:pt x="1194" y="556"/>
                      </a:lnTo>
                      <a:lnTo>
                        <a:pt x="340" y="1036"/>
                      </a:lnTo>
                      <a:lnTo>
                        <a:pt x="0" y="481"/>
                      </a:lnTo>
                      <a:close/>
                    </a:path>
                  </a:pathLst>
                </a:custGeom>
                <a:noFill/>
                <a:ln w="3175">
                  <a:solidFill>
                    <a:srgbClr val="000000"/>
                  </a:solidFill>
                  <a:round/>
                  <a:headEnd/>
                  <a:tailEnd/>
                </a:ln>
              </p:spPr>
              <p:txBody>
                <a:bodyPr/>
                <a:lstStyle/>
                <a:p>
                  <a:endParaRPr lang="ja-JP" altLang="en-US" sz="1600" b="1">
                    <a:latin typeface="Times New Roman" charset="0"/>
                    <a:cs typeface="Times New Roman" charset="0"/>
                  </a:endParaRPr>
                </a:p>
              </p:txBody>
            </p:sp>
            <p:sp>
              <p:nvSpPr>
                <p:cNvPr id="46204" name="Line 114"/>
                <p:cNvSpPr>
                  <a:spLocks noChangeShapeType="1"/>
                </p:cNvSpPr>
                <p:nvPr/>
              </p:nvSpPr>
              <p:spPr bwMode="auto">
                <a:xfrm>
                  <a:off x="2916" y="1223"/>
                  <a:ext cx="68" cy="92"/>
                </a:xfrm>
                <a:prstGeom prst="line">
                  <a:avLst/>
                </a:prstGeom>
                <a:noFill/>
                <a:ln w="3175">
                  <a:solidFill>
                    <a:srgbClr val="000000"/>
                  </a:solidFill>
                  <a:round/>
                  <a:headEnd/>
                  <a:tailEnd/>
                </a:ln>
              </p:spPr>
              <p:txBody>
                <a:bodyPr/>
                <a:lstStyle/>
                <a:p>
                  <a:endParaRPr lang="en-US" sz="1600" b="1"/>
                </a:p>
              </p:txBody>
            </p:sp>
            <p:sp>
              <p:nvSpPr>
                <p:cNvPr id="46205" name="Line 115"/>
                <p:cNvSpPr>
                  <a:spLocks noChangeShapeType="1"/>
                </p:cNvSpPr>
                <p:nvPr/>
              </p:nvSpPr>
              <p:spPr bwMode="auto">
                <a:xfrm>
                  <a:off x="2888" y="1237"/>
                  <a:ext cx="67" cy="90"/>
                </a:xfrm>
                <a:prstGeom prst="line">
                  <a:avLst/>
                </a:prstGeom>
                <a:noFill/>
                <a:ln w="3175">
                  <a:solidFill>
                    <a:srgbClr val="000000"/>
                  </a:solidFill>
                  <a:round/>
                  <a:headEnd/>
                  <a:tailEnd/>
                </a:ln>
              </p:spPr>
              <p:txBody>
                <a:bodyPr/>
                <a:lstStyle/>
                <a:p>
                  <a:endParaRPr lang="en-US" sz="1600" b="1"/>
                </a:p>
              </p:txBody>
            </p:sp>
            <p:sp>
              <p:nvSpPr>
                <p:cNvPr id="46206" name="Line 116"/>
                <p:cNvSpPr>
                  <a:spLocks noChangeShapeType="1"/>
                </p:cNvSpPr>
                <p:nvPr/>
              </p:nvSpPr>
              <p:spPr bwMode="auto">
                <a:xfrm>
                  <a:off x="2860" y="1250"/>
                  <a:ext cx="67" cy="91"/>
                </a:xfrm>
                <a:prstGeom prst="line">
                  <a:avLst/>
                </a:prstGeom>
                <a:noFill/>
                <a:ln w="3175">
                  <a:solidFill>
                    <a:srgbClr val="000000"/>
                  </a:solidFill>
                  <a:round/>
                  <a:headEnd/>
                  <a:tailEnd/>
                </a:ln>
              </p:spPr>
              <p:txBody>
                <a:bodyPr/>
                <a:lstStyle/>
                <a:p>
                  <a:endParaRPr lang="en-US" sz="1600" b="1"/>
                </a:p>
              </p:txBody>
            </p:sp>
            <p:sp>
              <p:nvSpPr>
                <p:cNvPr id="46207" name="Line 117"/>
                <p:cNvSpPr>
                  <a:spLocks noChangeShapeType="1"/>
                </p:cNvSpPr>
                <p:nvPr/>
              </p:nvSpPr>
              <p:spPr bwMode="auto">
                <a:xfrm>
                  <a:off x="2831" y="1261"/>
                  <a:ext cx="68" cy="94"/>
                </a:xfrm>
                <a:prstGeom prst="line">
                  <a:avLst/>
                </a:prstGeom>
                <a:noFill/>
                <a:ln w="3175">
                  <a:solidFill>
                    <a:srgbClr val="000000"/>
                  </a:solidFill>
                  <a:round/>
                  <a:headEnd/>
                  <a:tailEnd/>
                </a:ln>
              </p:spPr>
              <p:txBody>
                <a:bodyPr/>
                <a:lstStyle/>
                <a:p>
                  <a:endParaRPr lang="en-US" sz="1600" b="1"/>
                </a:p>
              </p:txBody>
            </p:sp>
            <p:sp>
              <p:nvSpPr>
                <p:cNvPr id="46208" name="Line 118"/>
                <p:cNvSpPr>
                  <a:spLocks noChangeShapeType="1"/>
                </p:cNvSpPr>
                <p:nvPr/>
              </p:nvSpPr>
              <p:spPr bwMode="auto">
                <a:xfrm>
                  <a:off x="2804" y="1275"/>
                  <a:ext cx="67" cy="92"/>
                </a:xfrm>
                <a:prstGeom prst="line">
                  <a:avLst/>
                </a:prstGeom>
                <a:noFill/>
                <a:ln w="3175">
                  <a:solidFill>
                    <a:srgbClr val="000000"/>
                  </a:solidFill>
                  <a:round/>
                  <a:headEnd/>
                  <a:tailEnd/>
                </a:ln>
              </p:spPr>
              <p:txBody>
                <a:bodyPr/>
                <a:lstStyle/>
                <a:p>
                  <a:endParaRPr lang="en-US" sz="1600" b="1"/>
                </a:p>
              </p:txBody>
            </p:sp>
            <p:sp>
              <p:nvSpPr>
                <p:cNvPr id="46209" name="Line 119"/>
                <p:cNvSpPr>
                  <a:spLocks noChangeShapeType="1"/>
                </p:cNvSpPr>
                <p:nvPr/>
              </p:nvSpPr>
              <p:spPr bwMode="auto">
                <a:xfrm flipV="1">
                  <a:off x="2789" y="1229"/>
                  <a:ext cx="169" cy="78"/>
                </a:xfrm>
                <a:prstGeom prst="line">
                  <a:avLst/>
                </a:prstGeom>
                <a:noFill/>
                <a:ln w="3175">
                  <a:solidFill>
                    <a:srgbClr val="000000"/>
                  </a:solidFill>
                  <a:round/>
                  <a:headEnd/>
                  <a:tailEnd/>
                </a:ln>
              </p:spPr>
              <p:txBody>
                <a:bodyPr/>
                <a:lstStyle/>
                <a:p>
                  <a:endParaRPr lang="en-US" sz="1600" b="1"/>
                </a:p>
              </p:txBody>
            </p:sp>
            <p:sp>
              <p:nvSpPr>
                <p:cNvPr id="46210" name="Line 120"/>
                <p:cNvSpPr>
                  <a:spLocks noChangeShapeType="1"/>
                </p:cNvSpPr>
                <p:nvPr/>
              </p:nvSpPr>
              <p:spPr bwMode="auto">
                <a:xfrm flipV="1">
                  <a:off x="2803" y="1246"/>
                  <a:ext cx="167" cy="79"/>
                </a:xfrm>
                <a:prstGeom prst="line">
                  <a:avLst/>
                </a:prstGeom>
                <a:noFill/>
                <a:ln w="3175">
                  <a:solidFill>
                    <a:srgbClr val="000000"/>
                  </a:solidFill>
                  <a:round/>
                  <a:headEnd/>
                  <a:tailEnd/>
                </a:ln>
              </p:spPr>
              <p:txBody>
                <a:bodyPr/>
                <a:lstStyle/>
                <a:p>
                  <a:endParaRPr lang="en-US" sz="1600" b="1"/>
                </a:p>
              </p:txBody>
            </p:sp>
            <p:sp>
              <p:nvSpPr>
                <p:cNvPr id="46211" name="Line 121"/>
                <p:cNvSpPr>
                  <a:spLocks noChangeShapeType="1"/>
                </p:cNvSpPr>
                <p:nvPr/>
              </p:nvSpPr>
              <p:spPr bwMode="auto">
                <a:xfrm flipV="1">
                  <a:off x="2816" y="1264"/>
                  <a:ext cx="168" cy="80"/>
                </a:xfrm>
                <a:prstGeom prst="line">
                  <a:avLst/>
                </a:prstGeom>
                <a:noFill/>
                <a:ln w="3175">
                  <a:solidFill>
                    <a:srgbClr val="000000"/>
                  </a:solidFill>
                  <a:round/>
                  <a:headEnd/>
                  <a:tailEnd/>
                </a:ln>
              </p:spPr>
              <p:txBody>
                <a:bodyPr/>
                <a:lstStyle/>
                <a:p>
                  <a:endParaRPr lang="en-US" sz="1600" b="1"/>
                </a:p>
              </p:txBody>
            </p:sp>
            <p:sp>
              <p:nvSpPr>
                <p:cNvPr id="46212" name="Line 122"/>
                <p:cNvSpPr>
                  <a:spLocks noChangeShapeType="1"/>
                </p:cNvSpPr>
                <p:nvPr/>
              </p:nvSpPr>
              <p:spPr bwMode="auto">
                <a:xfrm flipV="1">
                  <a:off x="2829" y="1282"/>
                  <a:ext cx="168" cy="79"/>
                </a:xfrm>
                <a:prstGeom prst="line">
                  <a:avLst/>
                </a:prstGeom>
                <a:noFill/>
                <a:ln w="3175">
                  <a:solidFill>
                    <a:srgbClr val="000000"/>
                  </a:solidFill>
                  <a:round/>
                  <a:headEnd/>
                  <a:tailEnd/>
                </a:ln>
              </p:spPr>
              <p:txBody>
                <a:bodyPr/>
                <a:lstStyle/>
                <a:p>
                  <a:endParaRPr lang="en-US" sz="1600" b="1"/>
                </a:p>
              </p:txBody>
            </p:sp>
            <p:sp>
              <p:nvSpPr>
                <p:cNvPr id="46213" name="Freeform 123"/>
                <p:cNvSpPr>
                  <a:spLocks/>
                </p:cNvSpPr>
                <p:nvPr/>
              </p:nvSpPr>
              <p:spPr bwMode="auto">
                <a:xfrm>
                  <a:off x="2670" y="1341"/>
                  <a:ext cx="55" cy="78"/>
                </a:xfrm>
                <a:custGeom>
                  <a:avLst/>
                  <a:gdLst>
                    <a:gd name="T0" fmla="*/ 0 w 275"/>
                    <a:gd name="T1" fmla="*/ 0 h 468"/>
                    <a:gd name="T2" fmla="*/ 0 w 275"/>
                    <a:gd name="T3" fmla="*/ 0 h 468"/>
                    <a:gd name="T4" fmla="*/ 0 w 275"/>
                    <a:gd name="T5" fmla="*/ 0 h 468"/>
                    <a:gd name="T6" fmla="*/ 0 w 275"/>
                    <a:gd name="T7" fmla="*/ 0 h 468"/>
                    <a:gd name="T8" fmla="*/ 0 w 275"/>
                    <a:gd name="T9" fmla="*/ 0 h 468"/>
                    <a:gd name="T10" fmla="*/ 0 w 275"/>
                    <a:gd name="T11" fmla="*/ 0 h 468"/>
                    <a:gd name="T12" fmla="*/ 0 w 275"/>
                    <a:gd name="T13" fmla="*/ 0 h 468"/>
                    <a:gd name="T14" fmla="*/ 0 w 275"/>
                    <a:gd name="T15" fmla="*/ 0 h 468"/>
                    <a:gd name="T16" fmla="*/ 0 w 275"/>
                    <a:gd name="T17" fmla="*/ 0 h 468"/>
                    <a:gd name="T18" fmla="*/ 0 w 275"/>
                    <a:gd name="T19" fmla="*/ 0 h 468"/>
                    <a:gd name="T20" fmla="*/ 0 w 275"/>
                    <a:gd name="T21" fmla="*/ 0 h 468"/>
                    <a:gd name="T22" fmla="*/ 0 w 275"/>
                    <a:gd name="T23" fmla="*/ 0 h 468"/>
                    <a:gd name="T24" fmla="*/ 0 w 275"/>
                    <a:gd name="T25" fmla="*/ 0 h 468"/>
                    <a:gd name="T26" fmla="*/ 0 w 275"/>
                    <a:gd name="T27" fmla="*/ 0 h 468"/>
                    <a:gd name="T28" fmla="*/ 0 w 275"/>
                    <a:gd name="T29" fmla="*/ 0 h 468"/>
                    <a:gd name="T30" fmla="*/ 0 w 275"/>
                    <a:gd name="T31" fmla="*/ 0 h 468"/>
                    <a:gd name="T32" fmla="*/ 0 w 275"/>
                    <a:gd name="T33" fmla="*/ 0 h 468"/>
                    <a:gd name="T34" fmla="*/ 0 w 275"/>
                    <a:gd name="T35" fmla="*/ 0 h 468"/>
                    <a:gd name="T36" fmla="*/ 0 w 275"/>
                    <a:gd name="T37" fmla="*/ 0 h 468"/>
                    <a:gd name="T38" fmla="*/ 0 w 275"/>
                    <a:gd name="T39" fmla="*/ 0 h 468"/>
                    <a:gd name="T40" fmla="*/ 0 w 275"/>
                    <a:gd name="T41" fmla="*/ 0 h 468"/>
                    <a:gd name="T42" fmla="*/ 0 w 275"/>
                    <a:gd name="T43" fmla="*/ 0 h 468"/>
                    <a:gd name="T44" fmla="*/ 0 w 275"/>
                    <a:gd name="T45" fmla="*/ 0 h 468"/>
                    <a:gd name="T46" fmla="*/ 0 w 275"/>
                    <a:gd name="T47" fmla="*/ 0 h 468"/>
                    <a:gd name="T48" fmla="*/ 0 w 275"/>
                    <a:gd name="T49" fmla="*/ 0 h 468"/>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275"/>
                    <a:gd name="T76" fmla="*/ 0 h 468"/>
                    <a:gd name="T77" fmla="*/ 275 w 275"/>
                    <a:gd name="T78" fmla="*/ 468 h 468"/>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275" h="468">
                      <a:moveTo>
                        <a:pt x="96" y="0"/>
                      </a:moveTo>
                      <a:lnTo>
                        <a:pt x="275" y="0"/>
                      </a:lnTo>
                      <a:lnTo>
                        <a:pt x="238" y="67"/>
                      </a:lnTo>
                      <a:lnTo>
                        <a:pt x="218" y="128"/>
                      </a:lnTo>
                      <a:lnTo>
                        <a:pt x="201" y="203"/>
                      </a:lnTo>
                      <a:lnTo>
                        <a:pt x="194" y="252"/>
                      </a:lnTo>
                      <a:lnTo>
                        <a:pt x="193" y="314"/>
                      </a:lnTo>
                      <a:lnTo>
                        <a:pt x="194" y="352"/>
                      </a:lnTo>
                      <a:lnTo>
                        <a:pt x="197" y="396"/>
                      </a:lnTo>
                      <a:lnTo>
                        <a:pt x="203" y="429"/>
                      </a:lnTo>
                      <a:lnTo>
                        <a:pt x="211" y="467"/>
                      </a:lnTo>
                      <a:lnTo>
                        <a:pt x="15" y="468"/>
                      </a:lnTo>
                      <a:lnTo>
                        <a:pt x="10" y="438"/>
                      </a:lnTo>
                      <a:lnTo>
                        <a:pt x="2" y="402"/>
                      </a:lnTo>
                      <a:lnTo>
                        <a:pt x="1" y="363"/>
                      </a:lnTo>
                      <a:lnTo>
                        <a:pt x="0" y="324"/>
                      </a:lnTo>
                      <a:lnTo>
                        <a:pt x="2" y="289"/>
                      </a:lnTo>
                      <a:lnTo>
                        <a:pt x="5" y="259"/>
                      </a:lnTo>
                      <a:lnTo>
                        <a:pt x="9" y="222"/>
                      </a:lnTo>
                      <a:lnTo>
                        <a:pt x="17" y="186"/>
                      </a:lnTo>
                      <a:lnTo>
                        <a:pt x="27" y="150"/>
                      </a:lnTo>
                      <a:lnTo>
                        <a:pt x="41" y="104"/>
                      </a:lnTo>
                      <a:lnTo>
                        <a:pt x="58" y="70"/>
                      </a:lnTo>
                      <a:lnTo>
                        <a:pt x="76" y="32"/>
                      </a:lnTo>
                      <a:lnTo>
                        <a:pt x="96" y="0"/>
                      </a:lnTo>
                      <a:close/>
                    </a:path>
                  </a:pathLst>
                </a:custGeom>
                <a:solidFill>
                  <a:srgbClr val="5F5F5F"/>
                </a:solidFill>
                <a:ln w="9525">
                  <a:noFill/>
                  <a:round/>
                  <a:headEnd/>
                  <a:tailEnd/>
                </a:ln>
              </p:spPr>
              <p:txBody>
                <a:bodyPr/>
                <a:lstStyle/>
                <a:p>
                  <a:endParaRPr lang="ja-JP" altLang="en-US" sz="1600" b="1">
                    <a:latin typeface="Times New Roman" charset="0"/>
                    <a:cs typeface="Times New Roman" charset="0"/>
                  </a:endParaRPr>
                </a:p>
              </p:txBody>
            </p:sp>
            <p:sp>
              <p:nvSpPr>
                <p:cNvPr id="46214" name="Freeform 124"/>
                <p:cNvSpPr>
                  <a:spLocks/>
                </p:cNvSpPr>
                <p:nvPr/>
              </p:nvSpPr>
              <p:spPr bwMode="auto">
                <a:xfrm>
                  <a:off x="2670" y="1341"/>
                  <a:ext cx="55" cy="78"/>
                </a:xfrm>
                <a:custGeom>
                  <a:avLst/>
                  <a:gdLst>
                    <a:gd name="T0" fmla="*/ 0 w 275"/>
                    <a:gd name="T1" fmla="*/ 0 h 468"/>
                    <a:gd name="T2" fmla="*/ 0 w 275"/>
                    <a:gd name="T3" fmla="*/ 0 h 468"/>
                    <a:gd name="T4" fmla="*/ 0 w 275"/>
                    <a:gd name="T5" fmla="*/ 0 h 468"/>
                    <a:gd name="T6" fmla="*/ 0 w 275"/>
                    <a:gd name="T7" fmla="*/ 0 h 468"/>
                    <a:gd name="T8" fmla="*/ 0 w 275"/>
                    <a:gd name="T9" fmla="*/ 0 h 468"/>
                    <a:gd name="T10" fmla="*/ 0 w 275"/>
                    <a:gd name="T11" fmla="*/ 0 h 468"/>
                    <a:gd name="T12" fmla="*/ 0 w 275"/>
                    <a:gd name="T13" fmla="*/ 0 h 468"/>
                    <a:gd name="T14" fmla="*/ 0 w 275"/>
                    <a:gd name="T15" fmla="*/ 0 h 468"/>
                    <a:gd name="T16" fmla="*/ 0 w 275"/>
                    <a:gd name="T17" fmla="*/ 0 h 468"/>
                    <a:gd name="T18" fmla="*/ 0 w 275"/>
                    <a:gd name="T19" fmla="*/ 0 h 468"/>
                    <a:gd name="T20" fmla="*/ 0 w 275"/>
                    <a:gd name="T21" fmla="*/ 0 h 468"/>
                    <a:gd name="T22" fmla="*/ 0 w 275"/>
                    <a:gd name="T23" fmla="*/ 0 h 468"/>
                    <a:gd name="T24" fmla="*/ 0 w 275"/>
                    <a:gd name="T25" fmla="*/ 0 h 468"/>
                    <a:gd name="T26" fmla="*/ 0 w 275"/>
                    <a:gd name="T27" fmla="*/ 0 h 468"/>
                    <a:gd name="T28" fmla="*/ 0 w 275"/>
                    <a:gd name="T29" fmla="*/ 0 h 468"/>
                    <a:gd name="T30" fmla="*/ 0 w 275"/>
                    <a:gd name="T31" fmla="*/ 0 h 468"/>
                    <a:gd name="T32" fmla="*/ 0 w 275"/>
                    <a:gd name="T33" fmla="*/ 0 h 468"/>
                    <a:gd name="T34" fmla="*/ 0 w 275"/>
                    <a:gd name="T35" fmla="*/ 0 h 468"/>
                    <a:gd name="T36" fmla="*/ 0 w 275"/>
                    <a:gd name="T37" fmla="*/ 0 h 468"/>
                    <a:gd name="T38" fmla="*/ 0 w 275"/>
                    <a:gd name="T39" fmla="*/ 0 h 468"/>
                    <a:gd name="T40" fmla="*/ 0 w 275"/>
                    <a:gd name="T41" fmla="*/ 0 h 468"/>
                    <a:gd name="T42" fmla="*/ 0 w 275"/>
                    <a:gd name="T43" fmla="*/ 0 h 468"/>
                    <a:gd name="T44" fmla="*/ 0 w 275"/>
                    <a:gd name="T45" fmla="*/ 0 h 468"/>
                    <a:gd name="T46" fmla="*/ 0 w 275"/>
                    <a:gd name="T47" fmla="*/ 0 h 468"/>
                    <a:gd name="T48" fmla="*/ 0 w 275"/>
                    <a:gd name="T49" fmla="*/ 0 h 468"/>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275"/>
                    <a:gd name="T76" fmla="*/ 0 h 468"/>
                    <a:gd name="T77" fmla="*/ 275 w 275"/>
                    <a:gd name="T78" fmla="*/ 468 h 468"/>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275" h="468">
                      <a:moveTo>
                        <a:pt x="96" y="0"/>
                      </a:moveTo>
                      <a:lnTo>
                        <a:pt x="275" y="0"/>
                      </a:lnTo>
                      <a:lnTo>
                        <a:pt x="238" y="67"/>
                      </a:lnTo>
                      <a:lnTo>
                        <a:pt x="218" y="128"/>
                      </a:lnTo>
                      <a:lnTo>
                        <a:pt x="201" y="203"/>
                      </a:lnTo>
                      <a:lnTo>
                        <a:pt x="194" y="252"/>
                      </a:lnTo>
                      <a:lnTo>
                        <a:pt x="193" y="314"/>
                      </a:lnTo>
                      <a:lnTo>
                        <a:pt x="194" y="352"/>
                      </a:lnTo>
                      <a:lnTo>
                        <a:pt x="197" y="396"/>
                      </a:lnTo>
                      <a:lnTo>
                        <a:pt x="203" y="429"/>
                      </a:lnTo>
                      <a:lnTo>
                        <a:pt x="211" y="467"/>
                      </a:lnTo>
                      <a:lnTo>
                        <a:pt x="15" y="468"/>
                      </a:lnTo>
                      <a:lnTo>
                        <a:pt x="10" y="438"/>
                      </a:lnTo>
                      <a:lnTo>
                        <a:pt x="2" y="402"/>
                      </a:lnTo>
                      <a:lnTo>
                        <a:pt x="1" y="363"/>
                      </a:lnTo>
                      <a:lnTo>
                        <a:pt x="0" y="324"/>
                      </a:lnTo>
                      <a:lnTo>
                        <a:pt x="2" y="289"/>
                      </a:lnTo>
                      <a:lnTo>
                        <a:pt x="5" y="259"/>
                      </a:lnTo>
                      <a:lnTo>
                        <a:pt x="9" y="222"/>
                      </a:lnTo>
                      <a:lnTo>
                        <a:pt x="17" y="186"/>
                      </a:lnTo>
                      <a:lnTo>
                        <a:pt x="27" y="150"/>
                      </a:lnTo>
                      <a:lnTo>
                        <a:pt x="41" y="104"/>
                      </a:lnTo>
                      <a:lnTo>
                        <a:pt x="58" y="70"/>
                      </a:lnTo>
                      <a:lnTo>
                        <a:pt x="76" y="32"/>
                      </a:lnTo>
                      <a:lnTo>
                        <a:pt x="96" y="0"/>
                      </a:lnTo>
                      <a:close/>
                    </a:path>
                  </a:pathLst>
                </a:custGeom>
                <a:noFill/>
                <a:ln w="3175">
                  <a:solidFill>
                    <a:srgbClr val="000000"/>
                  </a:solidFill>
                  <a:round/>
                  <a:headEnd/>
                  <a:tailEnd/>
                </a:ln>
              </p:spPr>
              <p:txBody>
                <a:bodyPr/>
                <a:lstStyle/>
                <a:p>
                  <a:endParaRPr lang="ja-JP" altLang="en-US" sz="1600" b="1">
                    <a:latin typeface="Times New Roman" charset="0"/>
                    <a:cs typeface="Times New Roman" charset="0"/>
                  </a:endParaRPr>
                </a:p>
              </p:txBody>
            </p:sp>
            <p:sp>
              <p:nvSpPr>
                <p:cNvPr id="46215" name="Freeform 125"/>
                <p:cNvSpPr>
                  <a:spLocks/>
                </p:cNvSpPr>
                <p:nvPr/>
              </p:nvSpPr>
              <p:spPr bwMode="auto">
                <a:xfrm>
                  <a:off x="2693" y="1312"/>
                  <a:ext cx="92" cy="78"/>
                </a:xfrm>
                <a:custGeom>
                  <a:avLst/>
                  <a:gdLst>
                    <a:gd name="T0" fmla="*/ 0 w 462"/>
                    <a:gd name="T1" fmla="*/ 0 h 469"/>
                    <a:gd name="T2" fmla="*/ 0 w 462"/>
                    <a:gd name="T3" fmla="*/ 0 h 469"/>
                    <a:gd name="T4" fmla="*/ 0 w 462"/>
                    <a:gd name="T5" fmla="*/ 0 h 469"/>
                    <a:gd name="T6" fmla="*/ 0 w 462"/>
                    <a:gd name="T7" fmla="*/ 0 h 469"/>
                    <a:gd name="T8" fmla="*/ 0 w 462"/>
                    <a:gd name="T9" fmla="*/ 0 h 469"/>
                    <a:gd name="T10" fmla="*/ 0 w 462"/>
                    <a:gd name="T11" fmla="*/ 0 h 469"/>
                    <a:gd name="T12" fmla="*/ 0 w 462"/>
                    <a:gd name="T13" fmla="*/ 0 h 469"/>
                    <a:gd name="T14" fmla="*/ 0 w 462"/>
                    <a:gd name="T15" fmla="*/ 0 h 469"/>
                    <a:gd name="T16" fmla="*/ 0 w 462"/>
                    <a:gd name="T17" fmla="*/ 0 h 469"/>
                    <a:gd name="T18" fmla="*/ 0 w 462"/>
                    <a:gd name="T19" fmla="*/ 0 h 469"/>
                    <a:gd name="T20" fmla="*/ 0 w 462"/>
                    <a:gd name="T21" fmla="*/ 0 h 469"/>
                    <a:gd name="T22" fmla="*/ 0 w 462"/>
                    <a:gd name="T23" fmla="*/ 0 h 469"/>
                    <a:gd name="T24" fmla="*/ 0 w 462"/>
                    <a:gd name="T25" fmla="*/ 0 h 469"/>
                    <a:gd name="T26" fmla="*/ 0 w 462"/>
                    <a:gd name="T27" fmla="*/ 0 h 469"/>
                    <a:gd name="T28" fmla="*/ 0 w 462"/>
                    <a:gd name="T29" fmla="*/ 0 h 469"/>
                    <a:gd name="T30" fmla="*/ 0 w 462"/>
                    <a:gd name="T31" fmla="*/ 0 h 469"/>
                    <a:gd name="T32" fmla="*/ 0 w 462"/>
                    <a:gd name="T33" fmla="*/ 0 h 469"/>
                    <a:gd name="T34" fmla="*/ 0 w 462"/>
                    <a:gd name="T35" fmla="*/ 0 h 469"/>
                    <a:gd name="T36" fmla="*/ 0 w 462"/>
                    <a:gd name="T37" fmla="*/ 0 h 469"/>
                    <a:gd name="T38" fmla="*/ 0 w 462"/>
                    <a:gd name="T39" fmla="*/ 0 h 469"/>
                    <a:gd name="T40" fmla="*/ 0 w 462"/>
                    <a:gd name="T41" fmla="*/ 0 h 469"/>
                    <a:gd name="T42" fmla="*/ 0 w 462"/>
                    <a:gd name="T43" fmla="*/ 0 h 469"/>
                    <a:gd name="T44" fmla="*/ 0 w 462"/>
                    <a:gd name="T45" fmla="*/ 0 h 469"/>
                    <a:gd name="T46" fmla="*/ 0 w 462"/>
                    <a:gd name="T47" fmla="*/ 0 h 469"/>
                    <a:gd name="T48" fmla="*/ 0 w 462"/>
                    <a:gd name="T49" fmla="*/ 0 h 469"/>
                    <a:gd name="T50" fmla="*/ 0 w 462"/>
                    <a:gd name="T51" fmla="*/ 0 h 469"/>
                    <a:gd name="T52" fmla="*/ 0 w 462"/>
                    <a:gd name="T53" fmla="*/ 0 h 469"/>
                    <a:gd name="T54" fmla="*/ 0 w 462"/>
                    <a:gd name="T55" fmla="*/ 0 h 469"/>
                    <a:gd name="T56" fmla="*/ 0 w 462"/>
                    <a:gd name="T57" fmla="*/ 0 h 469"/>
                    <a:gd name="T58" fmla="*/ 0 w 462"/>
                    <a:gd name="T59" fmla="*/ 0 h 469"/>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462"/>
                    <a:gd name="T91" fmla="*/ 0 h 469"/>
                    <a:gd name="T92" fmla="*/ 462 w 462"/>
                    <a:gd name="T93" fmla="*/ 469 h 469"/>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462" h="469">
                      <a:moveTo>
                        <a:pt x="0" y="415"/>
                      </a:moveTo>
                      <a:lnTo>
                        <a:pt x="8" y="382"/>
                      </a:lnTo>
                      <a:lnTo>
                        <a:pt x="24" y="334"/>
                      </a:lnTo>
                      <a:lnTo>
                        <a:pt x="40" y="292"/>
                      </a:lnTo>
                      <a:lnTo>
                        <a:pt x="62" y="246"/>
                      </a:lnTo>
                      <a:lnTo>
                        <a:pt x="87" y="207"/>
                      </a:lnTo>
                      <a:lnTo>
                        <a:pt x="112" y="170"/>
                      </a:lnTo>
                      <a:lnTo>
                        <a:pt x="137" y="138"/>
                      </a:lnTo>
                      <a:lnTo>
                        <a:pt x="173" y="103"/>
                      </a:lnTo>
                      <a:lnTo>
                        <a:pt x="196" y="82"/>
                      </a:lnTo>
                      <a:lnTo>
                        <a:pt x="217" y="64"/>
                      </a:lnTo>
                      <a:lnTo>
                        <a:pt x="256" y="34"/>
                      </a:lnTo>
                      <a:lnTo>
                        <a:pt x="285" y="15"/>
                      </a:lnTo>
                      <a:lnTo>
                        <a:pt x="312" y="0"/>
                      </a:lnTo>
                      <a:lnTo>
                        <a:pt x="462" y="54"/>
                      </a:lnTo>
                      <a:lnTo>
                        <a:pt x="417" y="82"/>
                      </a:lnTo>
                      <a:lnTo>
                        <a:pt x="386" y="103"/>
                      </a:lnTo>
                      <a:lnTo>
                        <a:pt x="355" y="126"/>
                      </a:lnTo>
                      <a:lnTo>
                        <a:pt x="329" y="151"/>
                      </a:lnTo>
                      <a:lnTo>
                        <a:pt x="305" y="173"/>
                      </a:lnTo>
                      <a:lnTo>
                        <a:pt x="285" y="199"/>
                      </a:lnTo>
                      <a:lnTo>
                        <a:pt x="261" y="231"/>
                      </a:lnTo>
                      <a:lnTo>
                        <a:pt x="239" y="262"/>
                      </a:lnTo>
                      <a:lnTo>
                        <a:pt x="221" y="290"/>
                      </a:lnTo>
                      <a:lnTo>
                        <a:pt x="201" y="330"/>
                      </a:lnTo>
                      <a:lnTo>
                        <a:pt x="182" y="369"/>
                      </a:lnTo>
                      <a:lnTo>
                        <a:pt x="170" y="398"/>
                      </a:lnTo>
                      <a:lnTo>
                        <a:pt x="158" y="435"/>
                      </a:lnTo>
                      <a:lnTo>
                        <a:pt x="152" y="469"/>
                      </a:lnTo>
                      <a:lnTo>
                        <a:pt x="0" y="415"/>
                      </a:lnTo>
                      <a:close/>
                    </a:path>
                  </a:pathLst>
                </a:custGeom>
                <a:solidFill>
                  <a:srgbClr val="BFBFBF"/>
                </a:solidFill>
                <a:ln w="9525">
                  <a:noFill/>
                  <a:round/>
                  <a:headEnd/>
                  <a:tailEnd/>
                </a:ln>
              </p:spPr>
              <p:txBody>
                <a:bodyPr/>
                <a:lstStyle/>
                <a:p>
                  <a:endParaRPr lang="ja-JP" altLang="en-US" sz="1600" b="1">
                    <a:latin typeface="Times New Roman" charset="0"/>
                    <a:cs typeface="Times New Roman" charset="0"/>
                  </a:endParaRPr>
                </a:p>
              </p:txBody>
            </p:sp>
            <p:sp>
              <p:nvSpPr>
                <p:cNvPr id="46216" name="Freeform 126"/>
                <p:cNvSpPr>
                  <a:spLocks/>
                </p:cNvSpPr>
                <p:nvPr/>
              </p:nvSpPr>
              <p:spPr bwMode="auto">
                <a:xfrm>
                  <a:off x="2693" y="1312"/>
                  <a:ext cx="92" cy="78"/>
                </a:xfrm>
                <a:custGeom>
                  <a:avLst/>
                  <a:gdLst>
                    <a:gd name="T0" fmla="*/ 0 w 462"/>
                    <a:gd name="T1" fmla="*/ 0 h 469"/>
                    <a:gd name="T2" fmla="*/ 0 w 462"/>
                    <a:gd name="T3" fmla="*/ 0 h 469"/>
                    <a:gd name="T4" fmla="*/ 0 w 462"/>
                    <a:gd name="T5" fmla="*/ 0 h 469"/>
                    <a:gd name="T6" fmla="*/ 0 w 462"/>
                    <a:gd name="T7" fmla="*/ 0 h 469"/>
                    <a:gd name="T8" fmla="*/ 0 w 462"/>
                    <a:gd name="T9" fmla="*/ 0 h 469"/>
                    <a:gd name="T10" fmla="*/ 0 w 462"/>
                    <a:gd name="T11" fmla="*/ 0 h 469"/>
                    <a:gd name="T12" fmla="*/ 0 w 462"/>
                    <a:gd name="T13" fmla="*/ 0 h 469"/>
                    <a:gd name="T14" fmla="*/ 0 w 462"/>
                    <a:gd name="T15" fmla="*/ 0 h 469"/>
                    <a:gd name="T16" fmla="*/ 0 w 462"/>
                    <a:gd name="T17" fmla="*/ 0 h 469"/>
                    <a:gd name="T18" fmla="*/ 0 w 462"/>
                    <a:gd name="T19" fmla="*/ 0 h 469"/>
                    <a:gd name="T20" fmla="*/ 0 w 462"/>
                    <a:gd name="T21" fmla="*/ 0 h 469"/>
                    <a:gd name="T22" fmla="*/ 0 w 462"/>
                    <a:gd name="T23" fmla="*/ 0 h 469"/>
                    <a:gd name="T24" fmla="*/ 0 w 462"/>
                    <a:gd name="T25" fmla="*/ 0 h 469"/>
                    <a:gd name="T26" fmla="*/ 0 w 462"/>
                    <a:gd name="T27" fmla="*/ 0 h 469"/>
                    <a:gd name="T28" fmla="*/ 0 w 462"/>
                    <a:gd name="T29" fmla="*/ 0 h 469"/>
                    <a:gd name="T30" fmla="*/ 0 w 462"/>
                    <a:gd name="T31" fmla="*/ 0 h 469"/>
                    <a:gd name="T32" fmla="*/ 0 w 462"/>
                    <a:gd name="T33" fmla="*/ 0 h 469"/>
                    <a:gd name="T34" fmla="*/ 0 w 462"/>
                    <a:gd name="T35" fmla="*/ 0 h 469"/>
                    <a:gd name="T36" fmla="*/ 0 w 462"/>
                    <a:gd name="T37" fmla="*/ 0 h 469"/>
                    <a:gd name="T38" fmla="*/ 0 w 462"/>
                    <a:gd name="T39" fmla="*/ 0 h 469"/>
                    <a:gd name="T40" fmla="*/ 0 w 462"/>
                    <a:gd name="T41" fmla="*/ 0 h 469"/>
                    <a:gd name="T42" fmla="*/ 0 w 462"/>
                    <a:gd name="T43" fmla="*/ 0 h 469"/>
                    <a:gd name="T44" fmla="*/ 0 w 462"/>
                    <a:gd name="T45" fmla="*/ 0 h 469"/>
                    <a:gd name="T46" fmla="*/ 0 w 462"/>
                    <a:gd name="T47" fmla="*/ 0 h 469"/>
                    <a:gd name="T48" fmla="*/ 0 w 462"/>
                    <a:gd name="T49" fmla="*/ 0 h 469"/>
                    <a:gd name="T50" fmla="*/ 0 w 462"/>
                    <a:gd name="T51" fmla="*/ 0 h 469"/>
                    <a:gd name="T52" fmla="*/ 0 w 462"/>
                    <a:gd name="T53" fmla="*/ 0 h 469"/>
                    <a:gd name="T54" fmla="*/ 0 w 462"/>
                    <a:gd name="T55" fmla="*/ 0 h 469"/>
                    <a:gd name="T56" fmla="*/ 0 w 462"/>
                    <a:gd name="T57" fmla="*/ 0 h 469"/>
                    <a:gd name="T58" fmla="*/ 0 w 462"/>
                    <a:gd name="T59" fmla="*/ 0 h 469"/>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462"/>
                    <a:gd name="T91" fmla="*/ 0 h 469"/>
                    <a:gd name="T92" fmla="*/ 462 w 462"/>
                    <a:gd name="T93" fmla="*/ 469 h 469"/>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462" h="469">
                      <a:moveTo>
                        <a:pt x="0" y="415"/>
                      </a:moveTo>
                      <a:lnTo>
                        <a:pt x="8" y="382"/>
                      </a:lnTo>
                      <a:lnTo>
                        <a:pt x="24" y="334"/>
                      </a:lnTo>
                      <a:lnTo>
                        <a:pt x="40" y="292"/>
                      </a:lnTo>
                      <a:lnTo>
                        <a:pt x="62" y="246"/>
                      </a:lnTo>
                      <a:lnTo>
                        <a:pt x="87" y="207"/>
                      </a:lnTo>
                      <a:lnTo>
                        <a:pt x="112" y="170"/>
                      </a:lnTo>
                      <a:lnTo>
                        <a:pt x="137" y="138"/>
                      </a:lnTo>
                      <a:lnTo>
                        <a:pt x="173" y="103"/>
                      </a:lnTo>
                      <a:lnTo>
                        <a:pt x="196" y="82"/>
                      </a:lnTo>
                      <a:lnTo>
                        <a:pt x="217" y="64"/>
                      </a:lnTo>
                      <a:lnTo>
                        <a:pt x="256" y="34"/>
                      </a:lnTo>
                      <a:lnTo>
                        <a:pt x="285" y="15"/>
                      </a:lnTo>
                      <a:lnTo>
                        <a:pt x="312" y="0"/>
                      </a:lnTo>
                      <a:lnTo>
                        <a:pt x="462" y="54"/>
                      </a:lnTo>
                      <a:lnTo>
                        <a:pt x="417" y="82"/>
                      </a:lnTo>
                      <a:lnTo>
                        <a:pt x="386" y="103"/>
                      </a:lnTo>
                      <a:lnTo>
                        <a:pt x="355" y="126"/>
                      </a:lnTo>
                      <a:lnTo>
                        <a:pt x="329" y="151"/>
                      </a:lnTo>
                      <a:lnTo>
                        <a:pt x="305" y="173"/>
                      </a:lnTo>
                      <a:lnTo>
                        <a:pt x="285" y="199"/>
                      </a:lnTo>
                      <a:lnTo>
                        <a:pt x="261" y="231"/>
                      </a:lnTo>
                      <a:lnTo>
                        <a:pt x="239" y="262"/>
                      </a:lnTo>
                      <a:lnTo>
                        <a:pt x="221" y="290"/>
                      </a:lnTo>
                      <a:lnTo>
                        <a:pt x="201" y="330"/>
                      </a:lnTo>
                      <a:lnTo>
                        <a:pt x="182" y="369"/>
                      </a:lnTo>
                      <a:lnTo>
                        <a:pt x="170" y="398"/>
                      </a:lnTo>
                      <a:lnTo>
                        <a:pt x="158" y="435"/>
                      </a:lnTo>
                      <a:lnTo>
                        <a:pt x="152" y="469"/>
                      </a:lnTo>
                      <a:lnTo>
                        <a:pt x="0" y="415"/>
                      </a:lnTo>
                      <a:close/>
                    </a:path>
                  </a:pathLst>
                </a:custGeom>
                <a:noFill/>
                <a:ln w="3175">
                  <a:solidFill>
                    <a:srgbClr val="000000"/>
                  </a:solidFill>
                  <a:round/>
                  <a:headEnd/>
                  <a:tailEnd/>
                </a:ln>
              </p:spPr>
              <p:txBody>
                <a:bodyPr/>
                <a:lstStyle/>
                <a:p>
                  <a:endParaRPr lang="ja-JP" altLang="en-US" sz="1600" b="1">
                    <a:latin typeface="Times New Roman" charset="0"/>
                    <a:cs typeface="Times New Roman" charset="0"/>
                  </a:endParaRPr>
                </a:p>
              </p:txBody>
            </p:sp>
          </p:grpSp>
        </p:grpSp>
        <p:grpSp>
          <p:nvGrpSpPr>
            <p:cNvPr id="10" name="Group 127"/>
            <p:cNvGrpSpPr>
              <a:grpSpLocks/>
            </p:cNvGrpSpPr>
            <p:nvPr/>
          </p:nvGrpSpPr>
          <p:grpSpPr bwMode="auto">
            <a:xfrm>
              <a:off x="4560" y="3287"/>
              <a:ext cx="999" cy="629"/>
              <a:chOff x="4560" y="3287"/>
              <a:chExt cx="999" cy="629"/>
            </a:xfrm>
          </p:grpSpPr>
          <p:sp>
            <p:nvSpPr>
              <p:cNvPr id="46136" name="Text Box 128"/>
              <p:cNvSpPr txBox="1">
                <a:spLocks noChangeArrowheads="1"/>
              </p:cNvSpPr>
              <p:nvPr/>
            </p:nvSpPr>
            <p:spPr bwMode="auto">
              <a:xfrm>
                <a:off x="4560" y="3690"/>
                <a:ext cx="999" cy="226"/>
              </a:xfrm>
              <a:prstGeom prst="rect">
                <a:avLst/>
              </a:prstGeom>
              <a:noFill/>
              <a:ln w="9525">
                <a:noFill/>
                <a:miter lim="800000"/>
                <a:headEnd/>
                <a:tailEnd/>
              </a:ln>
            </p:spPr>
            <p:txBody>
              <a:bodyPr>
                <a:spAutoFit/>
              </a:bodyPr>
              <a:lstStyle/>
              <a:p>
                <a:pPr algn="ctr">
                  <a:lnSpc>
                    <a:spcPts val="1000"/>
                  </a:lnSpc>
                </a:pPr>
                <a:r>
                  <a:rPr lang="en-US" altLang="ja-JP" sz="1600" b="1">
                    <a:latin typeface="Times New Roman" charset="0"/>
                    <a:cs typeface="Times New Roman" charset="0"/>
                  </a:rPr>
                  <a:t>User</a:t>
                </a:r>
              </a:p>
              <a:p>
                <a:pPr algn="ctr">
                  <a:lnSpc>
                    <a:spcPts val="1000"/>
                  </a:lnSpc>
                </a:pPr>
                <a:r>
                  <a:rPr lang="en-US" altLang="ja-JP" sz="1600" b="1">
                    <a:latin typeface="Times New Roman" charset="0"/>
                    <a:cs typeface="Times New Roman" charset="0"/>
                  </a:rPr>
                  <a:t>Distributor / Customer</a:t>
                </a:r>
              </a:p>
            </p:txBody>
          </p:sp>
          <p:grpSp>
            <p:nvGrpSpPr>
              <p:cNvPr id="11" name="Group 129"/>
              <p:cNvGrpSpPr>
                <a:grpSpLocks/>
              </p:cNvGrpSpPr>
              <p:nvPr/>
            </p:nvGrpSpPr>
            <p:grpSpPr bwMode="auto">
              <a:xfrm>
                <a:off x="4831" y="3287"/>
                <a:ext cx="390" cy="393"/>
                <a:chOff x="4831" y="3287"/>
                <a:chExt cx="390" cy="393"/>
              </a:xfrm>
            </p:grpSpPr>
            <p:sp>
              <p:nvSpPr>
                <p:cNvPr id="46138" name="Freeform 130"/>
                <p:cNvSpPr>
                  <a:spLocks/>
                </p:cNvSpPr>
                <p:nvPr/>
              </p:nvSpPr>
              <p:spPr bwMode="auto">
                <a:xfrm>
                  <a:off x="4831" y="3445"/>
                  <a:ext cx="277" cy="161"/>
                </a:xfrm>
                <a:custGeom>
                  <a:avLst/>
                  <a:gdLst>
                    <a:gd name="T0" fmla="*/ 0 w 1663"/>
                    <a:gd name="T1" fmla="*/ 0 h 966"/>
                    <a:gd name="T2" fmla="*/ 0 w 1663"/>
                    <a:gd name="T3" fmla="*/ 0 h 966"/>
                    <a:gd name="T4" fmla="*/ 0 w 1663"/>
                    <a:gd name="T5" fmla="*/ 0 h 966"/>
                    <a:gd name="T6" fmla="*/ 0 w 1663"/>
                    <a:gd name="T7" fmla="*/ 0 h 966"/>
                    <a:gd name="T8" fmla="*/ 0 w 1663"/>
                    <a:gd name="T9" fmla="*/ 0 h 966"/>
                    <a:gd name="T10" fmla="*/ 0 w 1663"/>
                    <a:gd name="T11" fmla="*/ 0 h 966"/>
                    <a:gd name="T12" fmla="*/ 0 60000 65536"/>
                    <a:gd name="T13" fmla="*/ 0 60000 65536"/>
                    <a:gd name="T14" fmla="*/ 0 60000 65536"/>
                    <a:gd name="T15" fmla="*/ 0 60000 65536"/>
                    <a:gd name="T16" fmla="*/ 0 60000 65536"/>
                    <a:gd name="T17" fmla="*/ 0 60000 65536"/>
                    <a:gd name="T18" fmla="*/ 0 w 1663"/>
                    <a:gd name="T19" fmla="*/ 0 h 966"/>
                    <a:gd name="T20" fmla="*/ 1663 w 1663"/>
                    <a:gd name="T21" fmla="*/ 966 h 966"/>
                  </a:gdLst>
                  <a:ahLst/>
                  <a:cxnLst>
                    <a:cxn ang="T12">
                      <a:pos x="T0" y="T1"/>
                    </a:cxn>
                    <a:cxn ang="T13">
                      <a:pos x="T2" y="T3"/>
                    </a:cxn>
                    <a:cxn ang="T14">
                      <a:pos x="T4" y="T5"/>
                    </a:cxn>
                    <a:cxn ang="T15">
                      <a:pos x="T6" y="T7"/>
                    </a:cxn>
                    <a:cxn ang="T16">
                      <a:pos x="T8" y="T9"/>
                    </a:cxn>
                    <a:cxn ang="T17">
                      <a:pos x="T10" y="T11"/>
                    </a:cxn>
                  </a:cxnLst>
                  <a:rect l="T18" t="T19" r="T20" b="T21"/>
                  <a:pathLst>
                    <a:path w="1663" h="966">
                      <a:moveTo>
                        <a:pt x="0" y="224"/>
                      </a:moveTo>
                      <a:lnTo>
                        <a:pt x="0" y="754"/>
                      </a:lnTo>
                      <a:lnTo>
                        <a:pt x="623" y="966"/>
                      </a:lnTo>
                      <a:lnTo>
                        <a:pt x="1432" y="659"/>
                      </a:lnTo>
                      <a:lnTo>
                        <a:pt x="1663" y="0"/>
                      </a:lnTo>
                      <a:lnTo>
                        <a:pt x="0" y="224"/>
                      </a:lnTo>
                      <a:close/>
                    </a:path>
                  </a:pathLst>
                </a:custGeom>
                <a:solidFill>
                  <a:srgbClr val="A5CEA5"/>
                </a:solidFill>
                <a:ln w="9525">
                  <a:noFill/>
                  <a:round/>
                  <a:headEnd/>
                  <a:tailEnd/>
                </a:ln>
              </p:spPr>
              <p:txBody>
                <a:bodyPr/>
                <a:lstStyle/>
                <a:p>
                  <a:endParaRPr lang="ja-JP" altLang="en-US" sz="1600" b="1">
                    <a:latin typeface="Times New Roman" charset="0"/>
                    <a:cs typeface="Times New Roman" charset="0"/>
                  </a:endParaRPr>
                </a:p>
              </p:txBody>
            </p:sp>
            <p:sp>
              <p:nvSpPr>
                <p:cNvPr id="46139" name="Freeform 131"/>
                <p:cNvSpPr>
                  <a:spLocks/>
                </p:cNvSpPr>
                <p:nvPr/>
              </p:nvSpPr>
              <p:spPr bwMode="auto">
                <a:xfrm>
                  <a:off x="5050" y="3319"/>
                  <a:ext cx="117" cy="151"/>
                </a:xfrm>
                <a:custGeom>
                  <a:avLst/>
                  <a:gdLst>
                    <a:gd name="T0" fmla="*/ 0 w 699"/>
                    <a:gd name="T1" fmla="*/ 0 h 906"/>
                    <a:gd name="T2" fmla="*/ 0 w 699"/>
                    <a:gd name="T3" fmla="*/ 0 h 906"/>
                    <a:gd name="T4" fmla="*/ 0 w 699"/>
                    <a:gd name="T5" fmla="*/ 0 h 906"/>
                    <a:gd name="T6" fmla="*/ 0 w 699"/>
                    <a:gd name="T7" fmla="*/ 0 h 906"/>
                    <a:gd name="T8" fmla="*/ 0 w 699"/>
                    <a:gd name="T9" fmla="*/ 0 h 906"/>
                    <a:gd name="T10" fmla="*/ 0 w 699"/>
                    <a:gd name="T11" fmla="*/ 0 h 906"/>
                    <a:gd name="T12" fmla="*/ 0 w 699"/>
                    <a:gd name="T13" fmla="*/ 0 h 906"/>
                    <a:gd name="T14" fmla="*/ 0 w 699"/>
                    <a:gd name="T15" fmla="*/ 0 h 906"/>
                    <a:gd name="T16" fmla="*/ 0 w 699"/>
                    <a:gd name="T17" fmla="*/ 0 h 906"/>
                    <a:gd name="T18" fmla="*/ 0 w 699"/>
                    <a:gd name="T19" fmla="*/ 0 h 906"/>
                    <a:gd name="T20" fmla="*/ 0 w 699"/>
                    <a:gd name="T21" fmla="*/ 0 h 906"/>
                    <a:gd name="T22" fmla="*/ 0 w 699"/>
                    <a:gd name="T23" fmla="*/ 0 h 906"/>
                    <a:gd name="T24" fmla="*/ 0 w 699"/>
                    <a:gd name="T25" fmla="*/ 0 h 906"/>
                    <a:gd name="T26" fmla="*/ 0 w 699"/>
                    <a:gd name="T27" fmla="*/ 0 h 906"/>
                    <a:gd name="T28" fmla="*/ 0 w 699"/>
                    <a:gd name="T29" fmla="*/ 0 h 906"/>
                    <a:gd name="T30" fmla="*/ 0 w 699"/>
                    <a:gd name="T31" fmla="*/ 0 h 906"/>
                    <a:gd name="T32" fmla="*/ 0 w 699"/>
                    <a:gd name="T33" fmla="*/ 0 h 906"/>
                    <a:gd name="T34" fmla="*/ 0 w 699"/>
                    <a:gd name="T35" fmla="*/ 0 h 906"/>
                    <a:gd name="T36" fmla="*/ 0 w 699"/>
                    <a:gd name="T37" fmla="*/ 0 h 906"/>
                    <a:gd name="T38" fmla="*/ 0 w 699"/>
                    <a:gd name="T39" fmla="*/ 0 h 906"/>
                    <a:gd name="T40" fmla="*/ 0 w 699"/>
                    <a:gd name="T41" fmla="*/ 0 h 906"/>
                    <a:gd name="T42" fmla="*/ 0 w 699"/>
                    <a:gd name="T43" fmla="*/ 0 h 906"/>
                    <a:gd name="T44" fmla="*/ 0 w 699"/>
                    <a:gd name="T45" fmla="*/ 0 h 906"/>
                    <a:gd name="T46" fmla="*/ 0 w 699"/>
                    <a:gd name="T47" fmla="*/ 0 h 906"/>
                    <a:gd name="T48" fmla="*/ 0 w 699"/>
                    <a:gd name="T49" fmla="*/ 0 h 906"/>
                    <a:gd name="T50" fmla="*/ 0 w 699"/>
                    <a:gd name="T51" fmla="*/ 0 h 906"/>
                    <a:gd name="T52" fmla="*/ 0 w 699"/>
                    <a:gd name="T53" fmla="*/ 0 h 906"/>
                    <a:gd name="T54" fmla="*/ 0 w 699"/>
                    <a:gd name="T55" fmla="*/ 0 h 906"/>
                    <a:gd name="T56" fmla="*/ 0 w 699"/>
                    <a:gd name="T57" fmla="*/ 0 h 906"/>
                    <a:gd name="T58" fmla="*/ 0 w 699"/>
                    <a:gd name="T59" fmla="*/ 0 h 906"/>
                    <a:gd name="T60" fmla="*/ 0 w 699"/>
                    <a:gd name="T61" fmla="*/ 0 h 906"/>
                    <a:gd name="T62" fmla="*/ 0 w 699"/>
                    <a:gd name="T63" fmla="*/ 0 h 906"/>
                    <a:gd name="T64" fmla="*/ 0 w 699"/>
                    <a:gd name="T65" fmla="*/ 0 h 906"/>
                    <a:gd name="T66" fmla="*/ 0 w 699"/>
                    <a:gd name="T67" fmla="*/ 0 h 906"/>
                    <a:gd name="T68" fmla="*/ 0 w 699"/>
                    <a:gd name="T69" fmla="*/ 0 h 906"/>
                    <a:gd name="T70" fmla="*/ 0 w 699"/>
                    <a:gd name="T71" fmla="*/ 0 h 906"/>
                    <a:gd name="T72" fmla="*/ 0 w 699"/>
                    <a:gd name="T73" fmla="*/ 0 h 906"/>
                    <a:gd name="T74" fmla="*/ 0 w 699"/>
                    <a:gd name="T75" fmla="*/ 0 h 906"/>
                    <a:gd name="T76" fmla="*/ 0 w 699"/>
                    <a:gd name="T77" fmla="*/ 0 h 906"/>
                    <a:gd name="T78" fmla="*/ 0 w 699"/>
                    <a:gd name="T79" fmla="*/ 0 h 906"/>
                    <a:gd name="T80" fmla="*/ 0 w 699"/>
                    <a:gd name="T81" fmla="*/ 0 h 906"/>
                    <a:gd name="T82" fmla="*/ 0 w 699"/>
                    <a:gd name="T83" fmla="*/ 0 h 906"/>
                    <a:gd name="T84" fmla="*/ 0 w 699"/>
                    <a:gd name="T85" fmla="*/ 0 h 906"/>
                    <a:gd name="T86" fmla="*/ 0 w 699"/>
                    <a:gd name="T87" fmla="*/ 0 h 906"/>
                    <a:gd name="T88" fmla="*/ 0 w 699"/>
                    <a:gd name="T89" fmla="*/ 0 h 906"/>
                    <a:gd name="T90" fmla="*/ 0 w 699"/>
                    <a:gd name="T91" fmla="*/ 0 h 906"/>
                    <a:gd name="T92" fmla="*/ 0 w 699"/>
                    <a:gd name="T93" fmla="*/ 0 h 90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699"/>
                    <a:gd name="T142" fmla="*/ 0 h 906"/>
                    <a:gd name="T143" fmla="*/ 699 w 699"/>
                    <a:gd name="T144" fmla="*/ 906 h 90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699" h="906">
                      <a:moveTo>
                        <a:pt x="539" y="480"/>
                      </a:moveTo>
                      <a:lnTo>
                        <a:pt x="549" y="448"/>
                      </a:lnTo>
                      <a:lnTo>
                        <a:pt x="556" y="416"/>
                      </a:lnTo>
                      <a:lnTo>
                        <a:pt x="560" y="381"/>
                      </a:lnTo>
                      <a:lnTo>
                        <a:pt x="561" y="347"/>
                      </a:lnTo>
                      <a:lnTo>
                        <a:pt x="560" y="311"/>
                      </a:lnTo>
                      <a:lnTo>
                        <a:pt x="555" y="276"/>
                      </a:lnTo>
                      <a:lnTo>
                        <a:pt x="548" y="243"/>
                      </a:lnTo>
                      <a:lnTo>
                        <a:pt x="539" y="212"/>
                      </a:lnTo>
                      <a:lnTo>
                        <a:pt x="527" y="181"/>
                      </a:lnTo>
                      <a:lnTo>
                        <a:pt x="513" y="153"/>
                      </a:lnTo>
                      <a:lnTo>
                        <a:pt x="496" y="126"/>
                      </a:lnTo>
                      <a:lnTo>
                        <a:pt x="479" y="101"/>
                      </a:lnTo>
                      <a:lnTo>
                        <a:pt x="459" y="79"/>
                      </a:lnTo>
                      <a:lnTo>
                        <a:pt x="437" y="60"/>
                      </a:lnTo>
                      <a:lnTo>
                        <a:pt x="414" y="42"/>
                      </a:lnTo>
                      <a:lnTo>
                        <a:pt x="390" y="27"/>
                      </a:lnTo>
                      <a:lnTo>
                        <a:pt x="364" y="16"/>
                      </a:lnTo>
                      <a:lnTo>
                        <a:pt x="337" y="7"/>
                      </a:lnTo>
                      <a:lnTo>
                        <a:pt x="309" y="1"/>
                      </a:lnTo>
                      <a:lnTo>
                        <a:pt x="281" y="0"/>
                      </a:lnTo>
                      <a:lnTo>
                        <a:pt x="252" y="1"/>
                      </a:lnTo>
                      <a:lnTo>
                        <a:pt x="225" y="7"/>
                      </a:lnTo>
                      <a:lnTo>
                        <a:pt x="197" y="16"/>
                      </a:lnTo>
                      <a:lnTo>
                        <a:pt x="171" y="27"/>
                      </a:lnTo>
                      <a:lnTo>
                        <a:pt x="147" y="42"/>
                      </a:lnTo>
                      <a:lnTo>
                        <a:pt x="123" y="60"/>
                      </a:lnTo>
                      <a:lnTo>
                        <a:pt x="102" y="79"/>
                      </a:lnTo>
                      <a:lnTo>
                        <a:pt x="82" y="101"/>
                      </a:lnTo>
                      <a:lnTo>
                        <a:pt x="64" y="126"/>
                      </a:lnTo>
                      <a:lnTo>
                        <a:pt x="47" y="153"/>
                      </a:lnTo>
                      <a:lnTo>
                        <a:pt x="34" y="181"/>
                      </a:lnTo>
                      <a:lnTo>
                        <a:pt x="22" y="212"/>
                      </a:lnTo>
                      <a:lnTo>
                        <a:pt x="13" y="243"/>
                      </a:lnTo>
                      <a:lnTo>
                        <a:pt x="6" y="276"/>
                      </a:lnTo>
                      <a:lnTo>
                        <a:pt x="1" y="311"/>
                      </a:lnTo>
                      <a:lnTo>
                        <a:pt x="0" y="347"/>
                      </a:lnTo>
                      <a:lnTo>
                        <a:pt x="1" y="382"/>
                      </a:lnTo>
                      <a:lnTo>
                        <a:pt x="4" y="416"/>
                      </a:lnTo>
                      <a:lnTo>
                        <a:pt x="11" y="449"/>
                      </a:lnTo>
                      <a:lnTo>
                        <a:pt x="20" y="481"/>
                      </a:lnTo>
                      <a:lnTo>
                        <a:pt x="31" y="511"/>
                      </a:lnTo>
                      <a:lnTo>
                        <a:pt x="44" y="540"/>
                      </a:lnTo>
                      <a:lnTo>
                        <a:pt x="59" y="567"/>
                      </a:lnTo>
                      <a:lnTo>
                        <a:pt x="76" y="591"/>
                      </a:lnTo>
                      <a:lnTo>
                        <a:pt x="94" y="613"/>
                      </a:lnTo>
                      <a:lnTo>
                        <a:pt x="115" y="634"/>
                      </a:lnTo>
                      <a:lnTo>
                        <a:pt x="137" y="652"/>
                      </a:lnTo>
                      <a:lnTo>
                        <a:pt x="160" y="666"/>
                      </a:lnTo>
                      <a:lnTo>
                        <a:pt x="185" y="678"/>
                      </a:lnTo>
                      <a:lnTo>
                        <a:pt x="212" y="686"/>
                      </a:lnTo>
                      <a:lnTo>
                        <a:pt x="239" y="691"/>
                      </a:lnTo>
                      <a:lnTo>
                        <a:pt x="268" y="693"/>
                      </a:lnTo>
                      <a:lnTo>
                        <a:pt x="274" y="693"/>
                      </a:lnTo>
                      <a:lnTo>
                        <a:pt x="280" y="692"/>
                      </a:lnTo>
                      <a:lnTo>
                        <a:pt x="287" y="692"/>
                      </a:lnTo>
                      <a:lnTo>
                        <a:pt x="293" y="691"/>
                      </a:lnTo>
                      <a:lnTo>
                        <a:pt x="300" y="690"/>
                      </a:lnTo>
                      <a:lnTo>
                        <a:pt x="306" y="689"/>
                      </a:lnTo>
                      <a:lnTo>
                        <a:pt x="312" y="687"/>
                      </a:lnTo>
                      <a:lnTo>
                        <a:pt x="318" y="686"/>
                      </a:lnTo>
                      <a:lnTo>
                        <a:pt x="285" y="805"/>
                      </a:lnTo>
                      <a:lnTo>
                        <a:pt x="288" y="808"/>
                      </a:lnTo>
                      <a:lnTo>
                        <a:pt x="295" y="814"/>
                      </a:lnTo>
                      <a:lnTo>
                        <a:pt x="308" y="824"/>
                      </a:lnTo>
                      <a:lnTo>
                        <a:pt x="324" y="836"/>
                      </a:lnTo>
                      <a:lnTo>
                        <a:pt x="344" y="850"/>
                      </a:lnTo>
                      <a:lnTo>
                        <a:pt x="368" y="866"/>
                      </a:lnTo>
                      <a:lnTo>
                        <a:pt x="394" y="881"/>
                      </a:lnTo>
                      <a:lnTo>
                        <a:pt x="424" y="896"/>
                      </a:lnTo>
                      <a:lnTo>
                        <a:pt x="439" y="902"/>
                      </a:lnTo>
                      <a:lnTo>
                        <a:pt x="455" y="905"/>
                      </a:lnTo>
                      <a:lnTo>
                        <a:pt x="471" y="906"/>
                      </a:lnTo>
                      <a:lnTo>
                        <a:pt x="487" y="905"/>
                      </a:lnTo>
                      <a:lnTo>
                        <a:pt x="504" y="903"/>
                      </a:lnTo>
                      <a:lnTo>
                        <a:pt x="519" y="899"/>
                      </a:lnTo>
                      <a:lnTo>
                        <a:pt x="535" y="895"/>
                      </a:lnTo>
                      <a:lnTo>
                        <a:pt x="549" y="889"/>
                      </a:lnTo>
                      <a:lnTo>
                        <a:pt x="563" y="883"/>
                      </a:lnTo>
                      <a:lnTo>
                        <a:pt x="577" y="875"/>
                      </a:lnTo>
                      <a:lnTo>
                        <a:pt x="591" y="868"/>
                      </a:lnTo>
                      <a:lnTo>
                        <a:pt x="602" y="862"/>
                      </a:lnTo>
                      <a:lnTo>
                        <a:pt x="613" y="856"/>
                      </a:lnTo>
                      <a:lnTo>
                        <a:pt x="623" y="852"/>
                      </a:lnTo>
                      <a:lnTo>
                        <a:pt x="631" y="847"/>
                      </a:lnTo>
                      <a:lnTo>
                        <a:pt x="638" y="845"/>
                      </a:lnTo>
                      <a:lnTo>
                        <a:pt x="650" y="837"/>
                      </a:lnTo>
                      <a:lnTo>
                        <a:pt x="662" y="827"/>
                      </a:lnTo>
                      <a:lnTo>
                        <a:pt x="672" y="812"/>
                      </a:lnTo>
                      <a:lnTo>
                        <a:pt x="681" y="797"/>
                      </a:lnTo>
                      <a:lnTo>
                        <a:pt x="688" y="781"/>
                      </a:lnTo>
                      <a:lnTo>
                        <a:pt x="694" y="768"/>
                      </a:lnTo>
                      <a:lnTo>
                        <a:pt x="698" y="760"/>
                      </a:lnTo>
                      <a:lnTo>
                        <a:pt x="699" y="756"/>
                      </a:lnTo>
                      <a:lnTo>
                        <a:pt x="539" y="480"/>
                      </a:lnTo>
                      <a:close/>
                    </a:path>
                  </a:pathLst>
                </a:custGeom>
                <a:solidFill>
                  <a:srgbClr val="F2CCB2"/>
                </a:solidFill>
                <a:ln w="9525">
                  <a:noFill/>
                  <a:round/>
                  <a:headEnd/>
                  <a:tailEnd/>
                </a:ln>
              </p:spPr>
              <p:txBody>
                <a:bodyPr/>
                <a:lstStyle/>
                <a:p>
                  <a:endParaRPr lang="ja-JP" altLang="en-US" sz="1600" b="1">
                    <a:latin typeface="Times New Roman" charset="0"/>
                    <a:cs typeface="Times New Roman" charset="0"/>
                  </a:endParaRPr>
                </a:p>
              </p:txBody>
            </p:sp>
            <p:sp>
              <p:nvSpPr>
                <p:cNvPr id="46140" name="Freeform 132"/>
                <p:cNvSpPr>
                  <a:spLocks/>
                </p:cNvSpPr>
                <p:nvPr/>
              </p:nvSpPr>
              <p:spPr bwMode="auto">
                <a:xfrm>
                  <a:off x="5051" y="3287"/>
                  <a:ext cx="170" cy="137"/>
                </a:xfrm>
                <a:custGeom>
                  <a:avLst/>
                  <a:gdLst>
                    <a:gd name="T0" fmla="*/ 0 w 1016"/>
                    <a:gd name="T1" fmla="*/ 0 h 824"/>
                    <a:gd name="T2" fmla="*/ 0 w 1016"/>
                    <a:gd name="T3" fmla="*/ 0 h 824"/>
                    <a:gd name="T4" fmla="*/ 0 w 1016"/>
                    <a:gd name="T5" fmla="*/ 0 h 824"/>
                    <a:gd name="T6" fmla="*/ 0 w 1016"/>
                    <a:gd name="T7" fmla="*/ 0 h 824"/>
                    <a:gd name="T8" fmla="*/ 0 w 1016"/>
                    <a:gd name="T9" fmla="*/ 0 h 824"/>
                    <a:gd name="T10" fmla="*/ 0 w 1016"/>
                    <a:gd name="T11" fmla="*/ 0 h 824"/>
                    <a:gd name="T12" fmla="*/ 0 w 1016"/>
                    <a:gd name="T13" fmla="*/ 0 h 824"/>
                    <a:gd name="T14" fmla="*/ 0 w 1016"/>
                    <a:gd name="T15" fmla="*/ 0 h 824"/>
                    <a:gd name="T16" fmla="*/ 0 w 1016"/>
                    <a:gd name="T17" fmla="*/ 0 h 824"/>
                    <a:gd name="T18" fmla="*/ 0 w 1016"/>
                    <a:gd name="T19" fmla="*/ 0 h 824"/>
                    <a:gd name="T20" fmla="*/ 0 w 1016"/>
                    <a:gd name="T21" fmla="*/ 0 h 824"/>
                    <a:gd name="T22" fmla="*/ 0 w 1016"/>
                    <a:gd name="T23" fmla="*/ 0 h 824"/>
                    <a:gd name="T24" fmla="*/ 0 w 1016"/>
                    <a:gd name="T25" fmla="*/ 0 h 824"/>
                    <a:gd name="T26" fmla="*/ 0 w 1016"/>
                    <a:gd name="T27" fmla="*/ 0 h 824"/>
                    <a:gd name="T28" fmla="*/ 0 w 1016"/>
                    <a:gd name="T29" fmla="*/ 0 h 824"/>
                    <a:gd name="T30" fmla="*/ 0 w 1016"/>
                    <a:gd name="T31" fmla="*/ 0 h 824"/>
                    <a:gd name="T32" fmla="*/ 0 w 1016"/>
                    <a:gd name="T33" fmla="*/ 0 h 824"/>
                    <a:gd name="T34" fmla="*/ 0 w 1016"/>
                    <a:gd name="T35" fmla="*/ 0 h 824"/>
                    <a:gd name="T36" fmla="*/ 0 w 1016"/>
                    <a:gd name="T37" fmla="*/ 0 h 824"/>
                    <a:gd name="T38" fmla="*/ 0 w 1016"/>
                    <a:gd name="T39" fmla="*/ 0 h 824"/>
                    <a:gd name="T40" fmla="*/ 0 w 1016"/>
                    <a:gd name="T41" fmla="*/ 0 h 824"/>
                    <a:gd name="T42" fmla="*/ 0 w 1016"/>
                    <a:gd name="T43" fmla="*/ 0 h 824"/>
                    <a:gd name="T44" fmla="*/ 0 w 1016"/>
                    <a:gd name="T45" fmla="*/ 0 h 824"/>
                    <a:gd name="T46" fmla="*/ 0 w 1016"/>
                    <a:gd name="T47" fmla="*/ 0 h 824"/>
                    <a:gd name="T48" fmla="*/ 0 w 1016"/>
                    <a:gd name="T49" fmla="*/ 0 h 824"/>
                    <a:gd name="T50" fmla="*/ 0 w 1016"/>
                    <a:gd name="T51" fmla="*/ 0 h 824"/>
                    <a:gd name="T52" fmla="*/ 0 w 1016"/>
                    <a:gd name="T53" fmla="*/ 0 h 824"/>
                    <a:gd name="T54" fmla="*/ 0 w 1016"/>
                    <a:gd name="T55" fmla="*/ 0 h 824"/>
                    <a:gd name="T56" fmla="*/ 0 w 1016"/>
                    <a:gd name="T57" fmla="*/ 0 h 824"/>
                    <a:gd name="T58" fmla="*/ 0 w 1016"/>
                    <a:gd name="T59" fmla="*/ 0 h 824"/>
                    <a:gd name="T60" fmla="*/ 0 w 1016"/>
                    <a:gd name="T61" fmla="*/ 0 h 824"/>
                    <a:gd name="T62" fmla="*/ 0 w 1016"/>
                    <a:gd name="T63" fmla="*/ 0 h 824"/>
                    <a:gd name="T64" fmla="*/ 0 w 1016"/>
                    <a:gd name="T65" fmla="*/ 0 h 824"/>
                    <a:gd name="T66" fmla="*/ 0 w 1016"/>
                    <a:gd name="T67" fmla="*/ 0 h 824"/>
                    <a:gd name="T68" fmla="*/ 0 w 1016"/>
                    <a:gd name="T69" fmla="*/ 0 h 824"/>
                    <a:gd name="T70" fmla="*/ 0 w 1016"/>
                    <a:gd name="T71" fmla="*/ 0 h 824"/>
                    <a:gd name="T72" fmla="*/ 0 w 1016"/>
                    <a:gd name="T73" fmla="*/ 0 h 824"/>
                    <a:gd name="T74" fmla="*/ 0 w 1016"/>
                    <a:gd name="T75" fmla="*/ 0 h 824"/>
                    <a:gd name="T76" fmla="*/ 0 w 1016"/>
                    <a:gd name="T77" fmla="*/ 0 h 824"/>
                    <a:gd name="T78" fmla="*/ 0 w 1016"/>
                    <a:gd name="T79" fmla="*/ 0 h 824"/>
                    <a:gd name="T80" fmla="*/ 0 w 1016"/>
                    <a:gd name="T81" fmla="*/ 0 h 824"/>
                    <a:gd name="T82" fmla="*/ 0 w 1016"/>
                    <a:gd name="T83" fmla="*/ 0 h 824"/>
                    <a:gd name="T84" fmla="*/ 0 w 1016"/>
                    <a:gd name="T85" fmla="*/ 0 h 824"/>
                    <a:gd name="T86" fmla="*/ 0 w 1016"/>
                    <a:gd name="T87" fmla="*/ 0 h 824"/>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1016"/>
                    <a:gd name="T133" fmla="*/ 0 h 824"/>
                    <a:gd name="T134" fmla="*/ 1016 w 1016"/>
                    <a:gd name="T135" fmla="*/ 824 h 824"/>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1016" h="824">
                      <a:moveTo>
                        <a:pt x="1015" y="419"/>
                      </a:moveTo>
                      <a:lnTo>
                        <a:pt x="1012" y="395"/>
                      </a:lnTo>
                      <a:lnTo>
                        <a:pt x="1010" y="372"/>
                      </a:lnTo>
                      <a:lnTo>
                        <a:pt x="1005" y="352"/>
                      </a:lnTo>
                      <a:lnTo>
                        <a:pt x="1000" y="332"/>
                      </a:lnTo>
                      <a:lnTo>
                        <a:pt x="994" y="313"/>
                      </a:lnTo>
                      <a:lnTo>
                        <a:pt x="987" y="296"/>
                      </a:lnTo>
                      <a:lnTo>
                        <a:pt x="980" y="281"/>
                      </a:lnTo>
                      <a:lnTo>
                        <a:pt x="972" y="266"/>
                      </a:lnTo>
                      <a:lnTo>
                        <a:pt x="957" y="245"/>
                      </a:lnTo>
                      <a:lnTo>
                        <a:pt x="944" y="225"/>
                      </a:lnTo>
                      <a:lnTo>
                        <a:pt x="930" y="206"/>
                      </a:lnTo>
                      <a:lnTo>
                        <a:pt x="916" y="189"/>
                      </a:lnTo>
                      <a:lnTo>
                        <a:pt x="899" y="176"/>
                      </a:lnTo>
                      <a:lnTo>
                        <a:pt x="879" y="164"/>
                      </a:lnTo>
                      <a:lnTo>
                        <a:pt x="856" y="154"/>
                      </a:lnTo>
                      <a:lnTo>
                        <a:pt x="830" y="148"/>
                      </a:lnTo>
                      <a:lnTo>
                        <a:pt x="808" y="147"/>
                      </a:lnTo>
                      <a:lnTo>
                        <a:pt x="787" y="148"/>
                      </a:lnTo>
                      <a:lnTo>
                        <a:pt x="766" y="151"/>
                      </a:lnTo>
                      <a:lnTo>
                        <a:pt x="744" y="154"/>
                      </a:lnTo>
                      <a:lnTo>
                        <a:pt x="724" y="159"/>
                      </a:lnTo>
                      <a:lnTo>
                        <a:pt x="705" y="163"/>
                      </a:lnTo>
                      <a:lnTo>
                        <a:pt x="687" y="166"/>
                      </a:lnTo>
                      <a:lnTo>
                        <a:pt x="673" y="169"/>
                      </a:lnTo>
                      <a:lnTo>
                        <a:pt x="660" y="148"/>
                      </a:lnTo>
                      <a:lnTo>
                        <a:pt x="643" y="128"/>
                      </a:lnTo>
                      <a:lnTo>
                        <a:pt x="625" y="108"/>
                      </a:lnTo>
                      <a:lnTo>
                        <a:pt x="605" y="89"/>
                      </a:lnTo>
                      <a:lnTo>
                        <a:pt x="582" y="71"/>
                      </a:lnTo>
                      <a:lnTo>
                        <a:pt x="557" y="54"/>
                      </a:lnTo>
                      <a:lnTo>
                        <a:pt x="531" y="39"/>
                      </a:lnTo>
                      <a:lnTo>
                        <a:pt x="502" y="26"/>
                      </a:lnTo>
                      <a:lnTo>
                        <a:pt x="484" y="19"/>
                      </a:lnTo>
                      <a:lnTo>
                        <a:pt x="465" y="13"/>
                      </a:lnTo>
                      <a:lnTo>
                        <a:pt x="446" y="8"/>
                      </a:lnTo>
                      <a:lnTo>
                        <a:pt x="427" y="4"/>
                      </a:lnTo>
                      <a:lnTo>
                        <a:pt x="408" y="1"/>
                      </a:lnTo>
                      <a:lnTo>
                        <a:pt x="388" y="0"/>
                      </a:lnTo>
                      <a:lnTo>
                        <a:pt x="366" y="0"/>
                      </a:lnTo>
                      <a:lnTo>
                        <a:pt x="346" y="1"/>
                      </a:lnTo>
                      <a:lnTo>
                        <a:pt x="327" y="2"/>
                      </a:lnTo>
                      <a:lnTo>
                        <a:pt x="308" y="4"/>
                      </a:lnTo>
                      <a:lnTo>
                        <a:pt x="290" y="7"/>
                      </a:lnTo>
                      <a:lnTo>
                        <a:pt x="274" y="9"/>
                      </a:lnTo>
                      <a:lnTo>
                        <a:pt x="257" y="11"/>
                      </a:lnTo>
                      <a:lnTo>
                        <a:pt x="240" y="14"/>
                      </a:lnTo>
                      <a:lnTo>
                        <a:pt x="225" y="16"/>
                      </a:lnTo>
                      <a:lnTo>
                        <a:pt x="209" y="20"/>
                      </a:lnTo>
                      <a:lnTo>
                        <a:pt x="195" y="23"/>
                      </a:lnTo>
                      <a:lnTo>
                        <a:pt x="181" y="27"/>
                      </a:lnTo>
                      <a:lnTo>
                        <a:pt x="167" y="31"/>
                      </a:lnTo>
                      <a:lnTo>
                        <a:pt x="154" y="34"/>
                      </a:lnTo>
                      <a:lnTo>
                        <a:pt x="142" y="38"/>
                      </a:lnTo>
                      <a:lnTo>
                        <a:pt x="131" y="42"/>
                      </a:lnTo>
                      <a:lnTo>
                        <a:pt x="120" y="47"/>
                      </a:lnTo>
                      <a:lnTo>
                        <a:pt x="109" y="52"/>
                      </a:lnTo>
                      <a:lnTo>
                        <a:pt x="83" y="66"/>
                      </a:lnTo>
                      <a:lnTo>
                        <a:pt x="60" y="82"/>
                      </a:lnTo>
                      <a:lnTo>
                        <a:pt x="41" y="100"/>
                      </a:lnTo>
                      <a:lnTo>
                        <a:pt x="26" y="119"/>
                      </a:lnTo>
                      <a:lnTo>
                        <a:pt x="14" y="140"/>
                      </a:lnTo>
                      <a:lnTo>
                        <a:pt x="5" y="164"/>
                      </a:lnTo>
                      <a:lnTo>
                        <a:pt x="1" y="189"/>
                      </a:lnTo>
                      <a:lnTo>
                        <a:pt x="0" y="215"/>
                      </a:lnTo>
                      <a:lnTo>
                        <a:pt x="1" y="238"/>
                      </a:lnTo>
                      <a:lnTo>
                        <a:pt x="5" y="259"/>
                      </a:lnTo>
                      <a:lnTo>
                        <a:pt x="13" y="279"/>
                      </a:lnTo>
                      <a:lnTo>
                        <a:pt x="23" y="297"/>
                      </a:lnTo>
                      <a:lnTo>
                        <a:pt x="36" y="314"/>
                      </a:lnTo>
                      <a:lnTo>
                        <a:pt x="52" y="329"/>
                      </a:lnTo>
                      <a:lnTo>
                        <a:pt x="70" y="343"/>
                      </a:lnTo>
                      <a:lnTo>
                        <a:pt x="90" y="354"/>
                      </a:lnTo>
                      <a:lnTo>
                        <a:pt x="113" y="366"/>
                      </a:lnTo>
                      <a:lnTo>
                        <a:pt x="138" y="376"/>
                      </a:lnTo>
                      <a:lnTo>
                        <a:pt x="165" y="385"/>
                      </a:lnTo>
                      <a:lnTo>
                        <a:pt x="195" y="394"/>
                      </a:lnTo>
                      <a:lnTo>
                        <a:pt x="226" y="401"/>
                      </a:lnTo>
                      <a:lnTo>
                        <a:pt x="258" y="407"/>
                      </a:lnTo>
                      <a:lnTo>
                        <a:pt x="294" y="413"/>
                      </a:lnTo>
                      <a:lnTo>
                        <a:pt x="330" y="419"/>
                      </a:lnTo>
                      <a:lnTo>
                        <a:pt x="340" y="421"/>
                      </a:lnTo>
                      <a:lnTo>
                        <a:pt x="355" y="426"/>
                      </a:lnTo>
                      <a:lnTo>
                        <a:pt x="370" y="432"/>
                      </a:lnTo>
                      <a:lnTo>
                        <a:pt x="386" y="440"/>
                      </a:lnTo>
                      <a:lnTo>
                        <a:pt x="399" y="450"/>
                      </a:lnTo>
                      <a:lnTo>
                        <a:pt x="411" y="459"/>
                      </a:lnTo>
                      <a:lnTo>
                        <a:pt x="418" y="470"/>
                      </a:lnTo>
                      <a:lnTo>
                        <a:pt x="420" y="482"/>
                      </a:lnTo>
                      <a:lnTo>
                        <a:pt x="434" y="622"/>
                      </a:lnTo>
                      <a:lnTo>
                        <a:pt x="436" y="626"/>
                      </a:lnTo>
                      <a:lnTo>
                        <a:pt x="440" y="638"/>
                      </a:lnTo>
                      <a:lnTo>
                        <a:pt x="447" y="655"/>
                      </a:lnTo>
                      <a:lnTo>
                        <a:pt x="459" y="676"/>
                      </a:lnTo>
                      <a:lnTo>
                        <a:pt x="473" y="700"/>
                      </a:lnTo>
                      <a:lnTo>
                        <a:pt x="489" y="725"/>
                      </a:lnTo>
                      <a:lnTo>
                        <a:pt x="509" y="749"/>
                      </a:lnTo>
                      <a:lnTo>
                        <a:pt x="533" y="771"/>
                      </a:lnTo>
                      <a:lnTo>
                        <a:pt x="557" y="790"/>
                      </a:lnTo>
                      <a:lnTo>
                        <a:pt x="579" y="805"/>
                      </a:lnTo>
                      <a:lnTo>
                        <a:pt x="598" y="815"/>
                      </a:lnTo>
                      <a:lnTo>
                        <a:pt x="617" y="823"/>
                      </a:lnTo>
                      <a:lnTo>
                        <a:pt x="635" y="824"/>
                      </a:lnTo>
                      <a:lnTo>
                        <a:pt x="651" y="820"/>
                      </a:lnTo>
                      <a:lnTo>
                        <a:pt x="669" y="813"/>
                      </a:lnTo>
                      <a:lnTo>
                        <a:pt x="687" y="799"/>
                      </a:lnTo>
                      <a:lnTo>
                        <a:pt x="702" y="781"/>
                      </a:lnTo>
                      <a:lnTo>
                        <a:pt x="712" y="762"/>
                      </a:lnTo>
                      <a:lnTo>
                        <a:pt x="717" y="742"/>
                      </a:lnTo>
                      <a:lnTo>
                        <a:pt x="719" y="723"/>
                      </a:lnTo>
                      <a:lnTo>
                        <a:pt x="718" y="706"/>
                      </a:lnTo>
                      <a:lnTo>
                        <a:pt x="716" y="692"/>
                      </a:lnTo>
                      <a:lnTo>
                        <a:pt x="714" y="683"/>
                      </a:lnTo>
                      <a:lnTo>
                        <a:pt x="713" y="680"/>
                      </a:lnTo>
                      <a:lnTo>
                        <a:pt x="716" y="682"/>
                      </a:lnTo>
                      <a:lnTo>
                        <a:pt x="723" y="687"/>
                      </a:lnTo>
                      <a:lnTo>
                        <a:pt x="733" y="695"/>
                      </a:lnTo>
                      <a:lnTo>
                        <a:pt x="748" y="703"/>
                      </a:lnTo>
                      <a:lnTo>
                        <a:pt x="763" y="712"/>
                      </a:lnTo>
                      <a:lnTo>
                        <a:pt x="781" y="719"/>
                      </a:lnTo>
                      <a:lnTo>
                        <a:pt x="799" y="724"/>
                      </a:lnTo>
                      <a:lnTo>
                        <a:pt x="817" y="725"/>
                      </a:lnTo>
                      <a:lnTo>
                        <a:pt x="837" y="721"/>
                      </a:lnTo>
                      <a:lnTo>
                        <a:pt x="862" y="712"/>
                      </a:lnTo>
                      <a:lnTo>
                        <a:pt x="888" y="699"/>
                      </a:lnTo>
                      <a:lnTo>
                        <a:pt x="916" y="682"/>
                      </a:lnTo>
                      <a:lnTo>
                        <a:pt x="942" y="659"/>
                      </a:lnTo>
                      <a:lnTo>
                        <a:pt x="966" y="633"/>
                      </a:lnTo>
                      <a:lnTo>
                        <a:pt x="986" y="602"/>
                      </a:lnTo>
                      <a:lnTo>
                        <a:pt x="999" y="568"/>
                      </a:lnTo>
                      <a:lnTo>
                        <a:pt x="1007" y="528"/>
                      </a:lnTo>
                      <a:lnTo>
                        <a:pt x="1013" y="489"/>
                      </a:lnTo>
                      <a:lnTo>
                        <a:pt x="1016" y="453"/>
                      </a:lnTo>
                      <a:lnTo>
                        <a:pt x="1015" y="419"/>
                      </a:lnTo>
                      <a:close/>
                    </a:path>
                  </a:pathLst>
                </a:custGeom>
                <a:solidFill>
                  <a:srgbClr val="660000"/>
                </a:solidFill>
                <a:ln w="9525">
                  <a:noFill/>
                  <a:round/>
                  <a:headEnd/>
                  <a:tailEnd/>
                </a:ln>
              </p:spPr>
              <p:txBody>
                <a:bodyPr/>
                <a:lstStyle/>
                <a:p>
                  <a:endParaRPr lang="ja-JP" altLang="en-US" sz="1600" b="1">
                    <a:latin typeface="Times New Roman" charset="0"/>
                    <a:cs typeface="Times New Roman" charset="0"/>
                  </a:endParaRPr>
                </a:p>
              </p:txBody>
            </p:sp>
            <p:sp>
              <p:nvSpPr>
                <p:cNvPr id="46141" name="Freeform 133"/>
                <p:cNvSpPr>
                  <a:spLocks/>
                </p:cNvSpPr>
                <p:nvPr/>
              </p:nvSpPr>
              <p:spPr bwMode="auto">
                <a:xfrm>
                  <a:off x="4917" y="3601"/>
                  <a:ext cx="233" cy="79"/>
                </a:xfrm>
                <a:custGeom>
                  <a:avLst/>
                  <a:gdLst>
                    <a:gd name="T0" fmla="*/ 0 w 1396"/>
                    <a:gd name="T1" fmla="*/ 0 h 476"/>
                    <a:gd name="T2" fmla="*/ 0 w 1396"/>
                    <a:gd name="T3" fmla="*/ 0 h 476"/>
                    <a:gd name="T4" fmla="*/ 0 w 1396"/>
                    <a:gd name="T5" fmla="*/ 0 h 476"/>
                    <a:gd name="T6" fmla="*/ 0 w 1396"/>
                    <a:gd name="T7" fmla="*/ 0 h 476"/>
                    <a:gd name="T8" fmla="*/ 0 w 1396"/>
                    <a:gd name="T9" fmla="*/ 0 h 476"/>
                    <a:gd name="T10" fmla="*/ 0 w 1396"/>
                    <a:gd name="T11" fmla="*/ 0 h 476"/>
                    <a:gd name="T12" fmla="*/ 0 w 1396"/>
                    <a:gd name="T13" fmla="*/ 0 h 476"/>
                    <a:gd name="T14" fmla="*/ 0 w 1396"/>
                    <a:gd name="T15" fmla="*/ 0 h 476"/>
                    <a:gd name="T16" fmla="*/ 0 w 1396"/>
                    <a:gd name="T17" fmla="*/ 0 h 476"/>
                    <a:gd name="T18" fmla="*/ 0 w 1396"/>
                    <a:gd name="T19" fmla="*/ 0 h 476"/>
                    <a:gd name="T20" fmla="*/ 0 w 1396"/>
                    <a:gd name="T21" fmla="*/ 0 h 476"/>
                    <a:gd name="T22" fmla="*/ 0 w 1396"/>
                    <a:gd name="T23" fmla="*/ 0 h 476"/>
                    <a:gd name="T24" fmla="*/ 0 w 1396"/>
                    <a:gd name="T25" fmla="*/ 0 h 476"/>
                    <a:gd name="T26" fmla="*/ 0 w 1396"/>
                    <a:gd name="T27" fmla="*/ 0 h 476"/>
                    <a:gd name="T28" fmla="*/ 0 w 1396"/>
                    <a:gd name="T29" fmla="*/ 0 h 476"/>
                    <a:gd name="T30" fmla="*/ 0 w 1396"/>
                    <a:gd name="T31" fmla="*/ 0 h 476"/>
                    <a:gd name="T32" fmla="*/ 0 w 1396"/>
                    <a:gd name="T33" fmla="*/ 0 h 476"/>
                    <a:gd name="T34" fmla="*/ 0 w 1396"/>
                    <a:gd name="T35" fmla="*/ 0 h 476"/>
                    <a:gd name="T36" fmla="*/ 0 w 1396"/>
                    <a:gd name="T37" fmla="*/ 0 h 476"/>
                    <a:gd name="T38" fmla="*/ 0 w 1396"/>
                    <a:gd name="T39" fmla="*/ 0 h 476"/>
                    <a:gd name="T40" fmla="*/ 0 w 1396"/>
                    <a:gd name="T41" fmla="*/ 0 h 476"/>
                    <a:gd name="T42" fmla="*/ 0 w 1396"/>
                    <a:gd name="T43" fmla="*/ 0 h 476"/>
                    <a:gd name="T44" fmla="*/ 0 w 1396"/>
                    <a:gd name="T45" fmla="*/ 0 h 476"/>
                    <a:gd name="T46" fmla="*/ 0 w 1396"/>
                    <a:gd name="T47" fmla="*/ 0 h 476"/>
                    <a:gd name="T48" fmla="*/ 0 w 1396"/>
                    <a:gd name="T49" fmla="*/ 0 h 476"/>
                    <a:gd name="T50" fmla="*/ 0 w 1396"/>
                    <a:gd name="T51" fmla="*/ 0 h 476"/>
                    <a:gd name="T52" fmla="*/ 0 w 1396"/>
                    <a:gd name="T53" fmla="*/ 0 h 476"/>
                    <a:gd name="T54" fmla="*/ 0 w 1396"/>
                    <a:gd name="T55" fmla="*/ 0 h 476"/>
                    <a:gd name="T56" fmla="*/ 0 w 1396"/>
                    <a:gd name="T57" fmla="*/ 0 h 476"/>
                    <a:gd name="T58" fmla="*/ 0 w 1396"/>
                    <a:gd name="T59" fmla="*/ 0 h 476"/>
                    <a:gd name="T60" fmla="*/ 0 w 1396"/>
                    <a:gd name="T61" fmla="*/ 0 h 476"/>
                    <a:gd name="T62" fmla="*/ 0 w 1396"/>
                    <a:gd name="T63" fmla="*/ 0 h 476"/>
                    <a:gd name="T64" fmla="*/ 0 w 1396"/>
                    <a:gd name="T65" fmla="*/ 0 h 476"/>
                    <a:gd name="T66" fmla="*/ 0 w 1396"/>
                    <a:gd name="T67" fmla="*/ 0 h 476"/>
                    <a:gd name="T68" fmla="*/ 0 w 1396"/>
                    <a:gd name="T69" fmla="*/ 0 h 476"/>
                    <a:gd name="T70" fmla="*/ 0 w 1396"/>
                    <a:gd name="T71" fmla="*/ 0 h 476"/>
                    <a:gd name="T72" fmla="*/ 0 w 1396"/>
                    <a:gd name="T73" fmla="*/ 0 h 476"/>
                    <a:gd name="T74" fmla="*/ 0 w 1396"/>
                    <a:gd name="T75" fmla="*/ 0 h 476"/>
                    <a:gd name="T76" fmla="*/ 0 w 1396"/>
                    <a:gd name="T77" fmla="*/ 0 h 476"/>
                    <a:gd name="T78" fmla="*/ 0 w 1396"/>
                    <a:gd name="T79" fmla="*/ 0 h 476"/>
                    <a:gd name="T80" fmla="*/ 0 w 1396"/>
                    <a:gd name="T81" fmla="*/ 0 h 476"/>
                    <a:gd name="T82" fmla="*/ 0 w 1396"/>
                    <a:gd name="T83" fmla="*/ 0 h 476"/>
                    <a:gd name="T84" fmla="*/ 0 w 1396"/>
                    <a:gd name="T85" fmla="*/ 0 h 476"/>
                    <a:gd name="T86" fmla="*/ 0 w 1396"/>
                    <a:gd name="T87" fmla="*/ 0 h 476"/>
                    <a:gd name="T88" fmla="*/ 0 w 1396"/>
                    <a:gd name="T89" fmla="*/ 0 h 476"/>
                    <a:gd name="T90" fmla="*/ 0 w 1396"/>
                    <a:gd name="T91" fmla="*/ 0 h 476"/>
                    <a:gd name="T92" fmla="*/ 0 w 1396"/>
                    <a:gd name="T93" fmla="*/ 0 h 476"/>
                    <a:gd name="T94" fmla="*/ 0 w 1396"/>
                    <a:gd name="T95" fmla="*/ 0 h 476"/>
                    <a:gd name="T96" fmla="*/ 0 w 1396"/>
                    <a:gd name="T97" fmla="*/ 0 h 476"/>
                    <a:gd name="T98" fmla="*/ 0 w 1396"/>
                    <a:gd name="T99" fmla="*/ 0 h 476"/>
                    <a:gd name="T100" fmla="*/ 0 w 1396"/>
                    <a:gd name="T101" fmla="*/ 0 h 476"/>
                    <a:gd name="T102" fmla="*/ 0 w 1396"/>
                    <a:gd name="T103" fmla="*/ 0 h 476"/>
                    <a:gd name="T104" fmla="*/ 0 w 1396"/>
                    <a:gd name="T105" fmla="*/ 0 h 476"/>
                    <a:gd name="T106" fmla="*/ 0 w 1396"/>
                    <a:gd name="T107" fmla="*/ 0 h 476"/>
                    <a:gd name="T108" fmla="*/ 0 w 1396"/>
                    <a:gd name="T109" fmla="*/ 0 h 476"/>
                    <a:gd name="T110" fmla="*/ 0 w 1396"/>
                    <a:gd name="T111" fmla="*/ 0 h 476"/>
                    <a:gd name="T112" fmla="*/ 0 w 1396"/>
                    <a:gd name="T113" fmla="*/ 0 h 476"/>
                    <a:gd name="T114" fmla="*/ 0 w 1396"/>
                    <a:gd name="T115" fmla="*/ 0 h 476"/>
                    <a:gd name="T116" fmla="*/ 0 w 1396"/>
                    <a:gd name="T117" fmla="*/ 0 h 47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1396"/>
                    <a:gd name="T178" fmla="*/ 0 h 476"/>
                    <a:gd name="T179" fmla="*/ 1396 w 1396"/>
                    <a:gd name="T180" fmla="*/ 476 h 47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1396" h="476">
                      <a:moveTo>
                        <a:pt x="20" y="476"/>
                      </a:moveTo>
                      <a:lnTo>
                        <a:pt x="1396" y="476"/>
                      </a:lnTo>
                      <a:lnTo>
                        <a:pt x="1093" y="86"/>
                      </a:lnTo>
                      <a:lnTo>
                        <a:pt x="1092" y="86"/>
                      </a:lnTo>
                      <a:lnTo>
                        <a:pt x="1086" y="85"/>
                      </a:lnTo>
                      <a:lnTo>
                        <a:pt x="1078" y="82"/>
                      </a:lnTo>
                      <a:lnTo>
                        <a:pt x="1067" y="81"/>
                      </a:lnTo>
                      <a:lnTo>
                        <a:pt x="1053" y="77"/>
                      </a:lnTo>
                      <a:lnTo>
                        <a:pt x="1036" y="75"/>
                      </a:lnTo>
                      <a:lnTo>
                        <a:pt x="1018" y="70"/>
                      </a:lnTo>
                      <a:lnTo>
                        <a:pt x="997" y="67"/>
                      </a:lnTo>
                      <a:lnTo>
                        <a:pt x="973" y="63"/>
                      </a:lnTo>
                      <a:lnTo>
                        <a:pt x="948" y="58"/>
                      </a:lnTo>
                      <a:lnTo>
                        <a:pt x="922" y="54"/>
                      </a:lnTo>
                      <a:lnTo>
                        <a:pt x="893" y="49"/>
                      </a:lnTo>
                      <a:lnTo>
                        <a:pt x="864" y="44"/>
                      </a:lnTo>
                      <a:lnTo>
                        <a:pt x="833" y="39"/>
                      </a:lnTo>
                      <a:lnTo>
                        <a:pt x="802" y="35"/>
                      </a:lnTo>
                      <a:lnTo>
                        <a:pt x="769" y="30"/>
                      </a:lnTo>
                      <a:lnTo>
                        <a:pt x="736" y="25"/>
                      </a:lnTo>
                      <a:lnTo>
                        <a:pt x="703" y="20"/>
                      </a:lnTo>
                      <a:lnTo>
                        <a:pt x="669" y="17"/>
                      </a:lnTo>
                      <a:lnTo>
                        <a:pt x="636" y="13"/>
                      </a:lnTo>
                      <a:lnTo>
                        <a:pt x="603" y="9"/>
                      </a:lnTo>
                      <a:lnTo>
                        <a:pt x="569" y="7"/>
                      </a:lnTo>
                      <a:lnTo>
                        <a:pt x="537" y="5"/>
                      </a:lnTo>
                      <a:lnTo>
                        <a:pt x="505" y="2"/>
                      </a:lnTo>
                      <a:lnTo>
                        <a:pt x="475" y="1"/>
                      </a:lnTo>
                      <a:lnTo>
                        <a:pt x="445" y="0"/>
                      </a:lnTo>
                      <a:lnTo>
                        <a:pt x="417" y="1"/>
                      </a:lnTo>
                      <a:lnTo>
                        <a:pt x="389" y="1"/>
                      </a:lnTo>
                      <a:lnTo>
                        <a:pt x="364" y="4"/>
                      </a:lnTo>
                      <a:lnTo>
                        <a:pt x="340" y="6"/>
                      </a:lnTo>
                      <a:lnTo>
                        <a:pt x="319" y="9"/>
                      </a:lnTo>
                      <a:lnTo>
                        <a:pt x="300" y="14"/>
                      </a:lnTo>
                      <a:lnTo>
                        <a:pt x="286" y="19"/>
                      </a:lnTo>
                      <a:lnTo>
                        <a:pt x="271" y="24"/>
                      </a:lnTo>
                      <a:lnTo>
                        <a:pt x="256" y="30"/>
                      </a:lnTo>
                      <a:lnTo>
                        <a:pt x="239" y="36"/>
                      </a:lnTo>
                      <a:lnTo>
                        <a:pt x="223" y="44"/>
                      </a:lnTo>
                      <a:lnTo>
                        <a:pt x="205" y="52"/>
                      </a:lnTo>
                      <a:lnTo>
                        <a:pt x="188" y="62"/>
                      </a:lnTo>
                      <a:lnTo>
                        <a:pt x="170" y="71"/>
                      </a:lnTo>
                      <a:lnTo>
                        <a:pt x="152" y="82"/>
                      </a:lnTo>
                      <a:lnTo>
                        <a:pt x="136" y="94"/>
                      </a:lnTo>
                      <a:lnTo>
                        <a:pt x="119" y="106"/>
                      </a:lnTo>
                      <a:lnTo>
                        <a:pt x="102" y="119"/>
                      </a:lnTo>
                      <a:lnTo>
                        <a:pt x="87" y="133"/>
                      </a:lnTo>
                      <a:lnTo>
                        <a:pt x="72" y="148"/>
                      </a:lnTo>
                      <a:lnTo>
                        <a:pt x="59" y="163"/>
                      </a:lnTo>
                      <a:lnTo>
                        <a:pt x="47" y="180"/>
                      </a:lnTo>
                      <a:lnTo>
                        <a:pt x="20" y="230"/>
                      </a:lnTo>
                      <a:lnTo>
                        <a:pt x="6" y="280"/>
                      </a:lnTo>
                      <a:lnTo>
                        <a:pt x="0" y="330"/>
                      </a:lnTo>
                      <a:lnTo>
                        <a:pt x="0" y="376"/>
                      </a:lnTo>
                      <a:lnTo>
                        <a:pt x="6" y="417"/>
                      </a:lnTo>
                      <a:lnTo>
                        <a:pt x="12" y="448"/>
                      </a:lnTo>
                      <a:lnTo>
                        <a:pt x="18" y="469"/>
                      </a:lnTo>
                      <a:lnTo>
                        <a:pt x="20" y="476"/>
                      </a:lnTo>
                      <a:close/>
                    </a:path>
                  </a:pathLst>
                </a:custGeom>
                <a:solidFill>
                  <a:srgbClr val="0035FF"/>
                </a:solidFill>
                <a:ln w="9525">
                  <a:noFill/>
                  <a:round/>
                  <a:headEnd/>
                  <a:tailEnd/>
                </a:ln>
              </p:spPr>
              <p:txBody>
                <a:bodyPr/>
                <a:lstStyle/>
                <a:p>
                  <a:endParaRPr lang="ja-JP" altLang="en-US" sz="1600" b="1">
                    <a:latin typeface="Times New Roman" charset="0"/>
                    <a:cs typeface="Times New Roman" charset="0"/>
                  </a:endParaRPr>
                </a:p>
              </p:txBody>
            </p:sp>
            <p:sp>
              <p:nvSpPr>
                <p:cNvPr id="46142" name="Freeform 134"/>
                <p:cNvSpPr>
                  <a:spLocks/>
                </p:cNvSpPr>
                <p:nvPr/>
              </p:nvSpPr>
              <p:spPr bwMode="auto">
                <a:xfrm>
                  <a:off x="4967" y="3440"/>
                  <a:ext cx="237" cy="235"/>
                </a:xfrm>
                <a:custGeom>
                  <a:avLst/>
                  <a:gdLst>
                    <a:gd name="T0" fmla="*/ 0 w 1422"/>
                    <a:gd name="T1" fmla="*/ 0 h 1405"/>
                    <a:gd name="T2" fmla="*/ 0 w 1422"/>
                    <a:gd name="T3" fmla="*/ 0 h 1405"/>
                    <a:gd name="T4" fmla="*/ 0 w 1422"/>
                    <a:gd name="T5" fmla="*/ 0 h 1405"/>
                    <a:gd name="T6" fmla="*/ 0 w 1422"/>
                    <a:gd name="T7" fmla="*/ 0 h 1405"/>
                    <a:gd name="T8" fmla="*/ 0 w 1422"/>
                    <a:gd name="T9" fmla="*/ 0 h 1405"/>
                    <a:gd name="T10" fmla="*/ 0 w 1422"/>
                    <a:gd name="T11" fmla="*/ 0 h 1405"/>
                    <a:gd name="T12" fmla="*/ 0 w 1422"/>
                    <a:gd name="T13" fmla="*/ 0 h 1405"/>
                    <a:gd name="T14" fmla="*/ 0 w 1422"/>
                    <a:gd name="T15" fmla="*/ 0 h 1405"/>
                    <a:gd name="T16" fmla="*/ 0 w 1422"/>
                    <a:gd name="T17" fmla="*/ 0 h 1405"/>
                    <a:gd name="T18" fmla="*/ 0 w 1422"/>
                    <a:gd name="T19" fmla="*/ 0 h 1405"/>
                    <a:gd name="T20" fmla="*/ 0 w 1422"/>
                    <a:gd name="T21" fmla="*/ 0 h 1405"/>
                    <a:gd name="T22" fmla="*/ 0 w 1422"/>
                    <a:gd name="T23" fmla="*/ 0 h 1405"/>
                    <a:gd name="T24" fmla="*/ 0 w 1422"/>
                    <a:gd name="T25" fmla="*/ 0 h 1405"/>
                    <a:gd name="T26" fmla="*/ 0 w 1422"/>
                    <a:gd name="T27" fmla="*/ 0 h 1405"/>
                    <a:gd name="T28" fmla="*/ 0 w 1422"/>
                    <a:gd name="T29" fmla="*/ 0 h 1405"/>
                    <a:gd name="T30" fmla="*/ 0 w 1422"/>
                    <a:gd name="T31" fmla="*/ 0 h 1405"/>
                    <a:gd name="T32" fmla="*/ 0 w 1422"/>
                    <a:gd name="T33" fmla="*/ 0 h 1405"/>
                    <a:gd name="T34" fmla="*/ 0 w 1422"/>
                    <a:gd name="T35" fmla="*/ 0 h 1405"/>
                    <a:gd name="T36" fmla="*/ 0 w 1422"/>
                    <a:gd name="T37" fmla="*/ 0 h 1405"/>
                    <a:gd name="T38" fmla="*/ 0 w 1422"/>
                    <a:gd name="T39" fmla="*/ 0 h 1405"/>
                    <a:gd name="T40" fmla="*/ 0 w 1422"/>
                    <a:gd name="T41" fmla="*/ 0 h 1405"/>
                    <a:gd name="T42" fmla="*/ 0 w 1422"/>
                    <a:gd name="T43" fmla="*/ 0 h 1405"/>
                    <a:gd name="T44" fmla="*/ 0 w 1422"/>
                    <a:gd name="T45" fmla="*/ 0 h 1405"/>
                    <a:gd name="T46" fmla="*/ 0 w 1422"/>
                    <a:gd name="T47" fmla="*/ 0 h 1405"/>
                    <a:gd name="T48" fmla="*/ 0 w 1422"/>
                    <a:gd name="T49" fmla="*/ 0 h 1405"/>
                    <a:gd name="T50" fmla="*/ 0 w 1422"/>
                    <a:gd name="T51" fmla="*/ 0 h 1405"/>
                    <a:gd name="T52" fmla="*/ 0 w 1422"/>
                    <a:gd name="T53" fmla="*/ 0 h 1405"/>
                    <a:gd name="T54" fmla="*/ 0 w 1422"/>
                    <a:gd name="T55" fmla="*/ 0 h 1405"/>
                    <a:gd name="T56" fmla="*/ 0 w 1422"/>
                    <a:gd name="T57" fmla="*/ 0 h 1405"/>
                    <a:gd name="T58" fmla="*/ 0 w 1422"/>
                    <a:gd name="T59" fmla="*/ 0 h 1405"/>
                    <a:gd name="T60" fmla="*/ 0 w 1422"/>
                    <a:gd name="T61" fmla="*/ 0 h 1405"/>
                    <a:gd name="T62" fmla="*/ 0 w 1422"/>
                    <a:gd name="T63" fmla="*/ 0 h 1405"/>
                    <a:gd name="T64" fmla="*/ 0 w 1422"/>
                    <a:gd name="T65" fmla="*/ 0 h 1405"/>
                    <a:gd name="T66" fmla="*/ 0 w 1422"/>
                    <a:gd name="T67" fmla="*/ 0 h 1405"/>
                    <a:gd name="T68" fmla="*/ 0 w 1422"/>
                    <a:gd name="T69" fmla="*/ 0 h 1405"/>
                    <a:gd name="T70" fmla="*/ 0 w 1422"/>
                    <a:gd name="T71" fmla="*/ 0 h 1405"/>
                    <a:gd name="T72" fmla="*/ 0 w 1422"/>
                    <a:gd name="T73" fmla="*/ 0 h 1405"/>
                    <a:gd name="T74" fmla="*/ 0 w 1422"/>
                    <a:gd name="T75" fmla="*/ 0 h 1405"/>
                    <a:gd name="T76" fmla="*/ 0 w 1422"/>
                    <a:gd name="T77" fmla="*/ 0 h 1405"/>
                    <a:gd name="T78" fmla="*/ 0 w 1422"/>
                    <a:gd name="T79" fmla="*/ 0 h 1405"/>
                    <a:gd name="T80" fmla="*/ 0 w 1422"/>
                    <a:gd name="T81" fmla="*/ 0 h 1405"/>
                    <a:gd name="T82" fmla="*/ 0 w 1422"/>
                    <a:gd name="T83" fmla="*/ 0 h 1405"/>
                    <a:gd name="T84" fmla="*/ 0 w 1422"/>
                    <a:gd name="T85" fmla="*/ 0 h 1405"/>
                    <a:gd name="T86" fmla="*/ 0 w 1422"/>
                    <a:gd name="T87" fmla="*/ 0 h 1405"/>
                    <a:gd name="T88" fmla="*/ 0 w 1422"/>
                    <a:gd name="T89" fmla="*/ 0 h 1405"/>
                    <a:gd name="T90" fmla="*/ 0 w 1422"/>
                    <a:gd name="T91" fmla="*/ 0 h 1405"/>
                    <a:gd name="T92" fmla="*/ 0 w 1422"/>
                    <a:gd name="T93" fmla="*/ 0 h 1405"/>
                    <a:gd name="T94" fmla="*/ 0 w 1422"/>
                    <a:gd name="T95" fmla="*/ 0 h 1405"/>
                    <a:gd name="T96" fmla="*/ 0 w 1422"/>
                    <a:gd name="T97" fmla="*/ 0 h 1405"/>
                    <a:gd name="T98" fmla="*/ 0 w 1422"/>
                    <a:gd name="T99" fmla="*/ 0 h 1405"/>
                    <a:gd name="T100" fmla="*/ 0 w 1422"/>
                    <a:gd name="T101" fmla="*/ 0 h 1405"/>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1422"/>
                    <a:gd name="T154" fmla="*/ 0 h 1405"/>
                    <a:gd name="T155" fmla="*/ 1422 w 1422"/>
                    <a:gd name="T156" fmla="*/ 1405 h 1405"/>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1422" h="1405">
                      <a:moveTo>
                        <a:pt x="798" y="45"/>
                      </a:moveTo>
                      <a:lnTo>
                        <a:pt x="796" y="45"/>
                      </a:lnTo>
                      <a:lnTo>
                        <a:pt x="788" y="46"/>
                      </a:lnTo>
                      <a:lnTo>
                        <a:pt x="778" y="48"/>
                      </a:lnTo>
                      <a:lnTo>
                        <a:pt x="763" y="52"/>
                      </a:lnTo>
                      <a:lnTo>
                        <a:pt x="747" y="57"/>
                      </a:lnTo>
                      <a:lnTo>
                        <a:pt x="727" y="63"/>
                      </a:lnTo>
                      <a:lnTo>
                        <a:pt x="705" y="70"/>
                      </a:lnTo>
                      <a:lnTo>
                        <a:pt x="682" y="78"/>
                      </a:lnTo>
                      <a:lnTo>
                        <a:pt x="657" y="89"/>
                      </a:lnTo>
                      <a:lnTo>
                        <a:pt x="634" y="101"/>
                      </a:lnTo>
                      <a:lnTo>
                        <a:pt x="610" y="114"/>
                      </a:lnTo>
                      <a:lnTo>
                        <a:pt x="586" y="129"/>
                      </a:lnTo>
                      <a:lnTo>
                        <a:pt x="563" y="147"/>
                      </a:lnTo>
                      <a:lnTo>
                        <a:pt x="543" y="166"/>
                      </a:lnTo>
                      <a:lnTo>
                        <a:pt x="524" y="188"/>
                      </a:lnTo>
                      <a:lnTo>
                        <a:pt x="509" y="212"/>
                      </a:lnTo>
                      <a:lnTo>
                        <a:pt x="488" y="247"/>
                      </a:lnTo>
                      <a:lnTo>
                        <a:pt x="472" y="281"/>
                      </a:lnTo>
                      <a:lnTo>
                        <a:pt x="458" y="314"/>
                      </a:lnTo>
                      <a:lnTo>
                        <a:pt x="448" y="349"/>
                      </a:lnTo>
                      <a:lnTo>
                        <a:pt x="438" y="386"/>
                      </a:lnTo>
                      <a:lnTo>
                        <a:pt x="430" y="427"/>
                      </a:lnTo>
                      <a:lnTo>
                        <a:pt x="423" y="475"/>
                      </a:lnTo>
                      <a:lnTo>
                        <a:pt x="414" y="531"/>
                      </a:lnTo>
                      <a:lnTo>
                        <a:pt x="407" y="589"/>
                      </a:lnTo>
                      <a:lnTo>
                        <a:pt x="402" y="646"/>
                      </a:lnTo>
                      <a:lnTo>
                        <a:pt x="398" y="699"/>
                      </a:lnTo>
                      <a:lnTo>
                        <a:pt x="392" y="745"/>
                      </a:lnTo>
                      <a:lnTo>
                        <a:pt x="382" y="784"/>
                      </a:lnTo>
                      <a:lnTo>
                        <a:pt x="369" y="817"/>
                      </a:lnTo>
                      <a:lnTo>
                        <a:pt x="351" y="839"/>
                      </a:lnTo>
                      <a:lnTo>
                        <a:pt x="326" y="850"/>
                      </a:lnTo>
                      <a:lnTo>
                        <a:pt x="295" y="848"/>
                      </a:lnTo>
                      <a:lnTo>
                        <a:pt x="267" y="830"/>
                      </a:lnTo>
                      <a:lnTo>
                        <a:pt x="240" y="802"/>
                      </a:lnTo>
                      <a:lnTo>
                        <a:pt x="219" y="770"/>
                      </a:lnTo>
                      <a:lnTo>
                        <a:pt x="201" y="737"/>
                      </a:lnTo>
                      <a:lnTo>
                        <a:pt x="188" y="707"/>
                      </a:lnTo>
                      <a:lnTo>
                        <a:pt x="180" y="687"/>
                      </a:lnTo>
                      <a:lnTo>
                        <a:pt x="177" y="678"/>
                      </a:lnTo>
                      <a:lnTo>
                        <a:pt x="0" y="771"/>
                      </a:lnTo>
                      <a:lnTo>
                        <a:pt x="1" y="775"/>
                      </a:lnTo>
                      <a:lnTo>
                        <a:pt x="3" y="786"/>
                      </a:lnTo>
                      <a:lnTo>
                        <a:pt x="7" y="801"/>
                      </a:lnTo>
                      <a:lnTo>
                        <a:pt x="14" y="823"/>
                      </a:lnTo>
                      <a:lnTo>
                        <a:pt x="21" y="849"/>
                      </a:lnTo>
                      <a:lnTo>
                        <a:pt x="32" y="880"/>
                      </a:lnTo>
                      <a:lnTo>
                        <a:pt x="43" y="913"/>
                      </a:lnTo>
                      <a:lnTo>
                        <a:pt x="57" y="949"/>
                      </a:lnTo>
                      <a:lnTo>
                        <a:pt x="65" y="968"/>
                      </a:lnTo>
                      <a:lnTo>
                        <a:pt x="75" y="987"/>
                      </a:lnTo>
                      <a:lnTo>
                        <a:pt x="87" y="1006"/>
                      </a:lnTo>
                      <a:lnTo>
                        <a:pt x="101" y="1025"/>
                      </a:lnTo>
                      <a:lnTo>
                        <a:pt x="115" y="1044"/>
                      </a:lnTo>
                      <a:lnTo>
                        <a:pt x="131" y="1062"/>
                      </a:lnTo>
                      <a:lnTo>
                        <a:pt x="147" y="1080"/>
                      </a:lnTo>
                      <a:lnTo>
                        <a:pt x="164" y="1098"/>
                      </a:lnTo>
                      <a:lnTo>
                        <a:pt x="182" y="1113"/>
                      </a:lnTo>
                      <a:lnTo>
                        <a:pt x="200" y="1129"/>
                      </a:lnTo>
                      <a:lnTo>
                        <a:pt x="217" y="1142"/>
                      </a:lnTo>
                      <a:lnTo>
                        <a:pt x="233" y="1154"/>
                      </a:lnTo>
                      <a:lnTo>
                        <a:pt x="250" y="1163"/>
                      </a:lnTo>
                      <a:lnTo>
                        <a:pt x="265" y="1170"/>
                      </a:lnTo>
                      <a:lnTo>
                        <a:pt x="280" y="1176"/>
                      </a:lnTo>
                      <a:lnTo>
                        <a:pt x="293" y="1180"/>
                      </a:lnTo>
                      <a:lnTo>
                        <a:pt x="314" y="1183"/>
                      </a:lnTo>
                      <a:lnTo>
                        <a:pt x="329" y="1185"/>
                      </a:lnTo>
                      <a:lnTo>
                        <a:pt x="339" y="1186"/>
                      </a:lnTo>
                      <a:lnTo>
                        <a:pt x="349" y="1185"/>
                      </a:lnTo>
                      <a:lnTo>
                        <a:pt x="358" y="1182"/>
                      </a:lnTo>
                      <a:lnTo>
                        <a:pt x="373" y="1180"/>
                      </a:lnTo>
                      <a:lnTo>
                        <a:pt x="392" y="1175"/>
                      </a:lnTo>
                      <a:lnTo>
                        <a:pt x="420" y="1169"/>
                      </a:lnTo>
                      <a:lnTo>
                        <a:pt x="432" y="1168"/>
                      </a:lnTo>
                      <a:lnTo>
                        <a:pt x="441" y="1170"/>
                      </a:lnTo>
                      <a:lnTo>
                        <a:pt x="448" y="1175"/>
                      </a:lnTo>
                      <a:lnTo>
                        <a:pt x="454" y="1181"/>
                      </a:lnTo>
                      <a:lnTo>
                        <a:pt x="458" y="1191"/>
                      </a:lnTo>
                      <a:lnTo>
                        <a:pt x="463" y="1201"/>
                      </a:lnTo>
                      <a:lnTo>
                        <a:pt x="469" y="1213"/>
                      </a:lnTo>
                      <a:lnTo>
                        <a:pt x="475" y="1228"/>
                      </a:lnTo>
                      <a:lnTo>
                        <a:pt x="483" y="1242"/>
                      </a:lnTo>
                      <a:lnTo>
                        <a:pt x="493" y="1259"/>
                      </a:lnTo>
                      <a:lnTo>
                        <a:pt x="505" y="1274"/>
                      </a:lnTo>
                      <a:lnTo>
                        <a:pt x="520" y="1291"/>
                      </a:lnTo>
                      <a:lnTo>
                        <a:pt x="539" y="1307"/>
                      </a:lnTo>
                      <a:lnTo>
                        <a:pt x="562" y="1324"/>
                      </a:lnTo>
                      <a:lnTo>
                        <a:pt x="591" y="1341"/>
                      </a:lnTo>
                      <a:lnTo>
                        <a:pt x="624" y="1356"/>
                      </a:lnTo>
                      <a:lnTo>
                        <a:pt x="671" y="1374"/>
                      </a:lnTo>
                      <a:lnTo>
                        <a:pt x="716" y="1387"/>
                      </a:lnTo>
                      <a:lnTo>
                        <a:pt x="760" y="1395"/>
                      </a:lnTo>
                      <a:lnTo>
                        <a:pt x="803" y="1401"/>
                      </a:lnTo>
                      <a:lnTo>
                        <a:pt x="844" y="1405"/>
                      </a:lnTo>
                      <a:lnTo>
                        <a:pt x="884" y="1405"/>
                      </a:lnTo>
                      <a:lnTo>
                        <a:pt x="921" y="1403"/>
                      </a:lnTo>
                      <a:lnTo>
                        <a:pt x="956" y="1399"/>
                      </a:lnTo>
                      <a:lnTo>
                        <a:pt x="989" y="1394"/>
                      </a:lnTo>
                      <a:lnTo>
                        <a:pt x="1017" y="1388"/>
                      </a:lnTo>
                      <a:lnTo>
                        <a:pt x="1043" y="1382"/>
                      </a:lnTo>
                      <a:lnTo>
                        <a:pt x="1065" y="1375"/>
                      </a:lnTo>
                      <a:lnTo>
                        <a:pt x="1084" y="1369"/>
                      </a:lnTo>
                      <a:lnTo>
                        <a:pt x="1098" y="1363"/>
                      </a:lnTo>
                      <a:lnTo>
                        <a:pt x="1108" y="1359"/>
                      </a:lnTo>
                      <a:lnTo>
                        <a:pt x="1114" y="1356"/>
                      </a:lnTo>
                      <a:lnTo>
                        <a:pt x="1120" y="1345"/>
                      </a:lnTo>
                      <a:lnTo>
                        <a:pt x="1132" y="1318"/>
                      </a:lnTo>
                      <a:lnTo>
                        <a:pt x="1148" y="1278"/>
                      </a:lnTo>
                      <a:lnTo>
                        <a:pt x="1169" y="1225"/>
                      </a:lnTo>
                      <a:lnTo>
                        <a:pt x="1191" y="1163"/>
                      </a:lnTo>
                      <a:lnTo>
                        <a:pt x="1217" y="1094"/>
                      </a:lnTo>
                      <a:lnTo>
                        <a:pt x="1245" y="1019"/>
                      </a:lnTo>
                      <a:lnTo>
                        <a:pt x="1272" y="941"/>
                      </a:lnTo>
                      <a:lnTo>
                        <a:pt x="1300" y="862"/>
                      </a:lnTo>
                      <a:lnTo>
                        <a:pt x="1327" y="783"/>
                      </a:lnTo>
                      <a:lnTo>
                        <a:pt x="1352" y="709"/>
                      </a:lnTo>
                      <a:lnTo>
                        <a:pt x="1373" y="639"/>
                      </a:lnTo>
                      <a:lnTo>
                        <a:pt x="1393" y="578"/>
                      </a:lnTo>
                      <a:lnTo>
                        <a:pt x="1408" y="526"/>
                      </a:lnTo>
                      <a:lnTo>
                        <a:pt x="1418" y="486"/>
                      </a:lnTo>
                      <a:lnTo>
                        <a:pt x="1422" y="459"/>
                      </a:lnTo>
                      <a:lnTo>
                        <a:pt x="1422" y="421"/>
                      </a:lnTo>
                      <a:lnTo>
                        <a:pt x="1421" y="381"/>
                      </a:lnTo>
                      <a:lnTo>
                        <a:pt x="1418" y="340"/>
                      </a:lnTo>
                      <a:lnTo>
                        <a:pt x="1412" y="301"/>
                      </a:lnTo>
                      <a:lnTo>
                        <a:pt x="1403" y="263"/>
                      </a:lnTo>
                      <a:lnTo>
                        <a:pt x="1393" y="227"/>
                      </a:lnTo>
                      <a:lnTo>
                        <a:pt x="1381" y="195"/>
                      </a:lnTo>
                      <a:lnTo>
                        <a:pt x="1368" y="168"/>
                      </a:lnTo>
                      <a:lnTo>
                        <a:pt x="1353" y="148"/>
                      </a:lnTo>
                      <a:lnTo>
                        <a:pt x="1332" y="121"/>
                      </a:lnTo>
                      <a:lnTo>
                        <a:pt x="1303" y="90"/>
                      </a:lnTo>
                      <a:lnTo>
                        <a:pt x="1273" y="59"/>
                      </a:lnTo>
                      <a:lnTo>
                        <a:pt x="1242" y="32"/>
                      </a:lnTo>
                      <a:lnTo>
                        <a:pt x="1215" y="10"/>
                      </a:lnTo>
                      <a:lnTo>
                        <a:pt x="1195" y="0"/>
                      </a:lnTo>
                      <a:lnTo>
                        <a:pt x="1183" y="2"/>
                      </a:lnTo>
                      <a:lnTo>
                        <a:pt x="1153" y="44"/>
                      </a:lnTo>
                      <a:lnTo>
                        <a:pt x="1122" y="76"/>
                      </a:lnTo>
                      <a:lnTo>
                        <a:pt x="1090" y="100"/>
                      </a:lnTo>
                      <a:lnTo>
                        <a:pt x="1058" y="115"/>
                      </a:lnTo>
                      <a:lnTo>
                        <a:pt x="1024" y="123"/>
                      </a:lnTo>
                      <a:lnTo>
                        <a:pt x="993" y="127"/>
                      </a:lnTo>
                      <a:lnTo>
                        <a:pt x="962" y="125"/>
                      </a:lnTo>
                      <a:lnTo>
                        <a:pt x="933" y="118"/>
                      </a:lnTo>
                      <a:lnTo>
                        <a:pt x="904" y="109"/>
                      </a:lnTo>
                      <a:lnTo>
                        <a:pt x="879" y="98"/>
                      </a:lnTo>
                      <a:lnTo>
                        <a:pt x="856" y="85"/>
                      </a:lnTo>
                      <a:lnTo>
                        <a:pt x="836" y="73"/>
                      </a:lnTo>
                      <a:lnTo>
                        <a:pt x="821" y="63"/>
                      </a:lnTo>
                      <a:lnTo>
                        <a:pt x="809" y="53"/>
                      </a:lnTo>
                      <a:lnTo>
                        <a:pt x="800" y="47"/>
                      </a:lnTo>
                      <a:lnTo>
                        <a:pt x="798" y="45"/>
                      </a:lnTo>
                      <a:close/>
                    </a:path>
                  </a:pathLst>
                </a:custGeom>
                <a:solidFill>
                  <a:srgbClr val="D87CFF"/>
                </a:solidFill>
                <a:ln w="9525">
                  <a:noFill/>
                  <a:round/>
                  <a:headEnd/>
                  <a:tailEnd/>
                </a:ln>
              </p:spPr>
              <p:txBody>
                <a:bodyPr/>
                <a:lstStyle/>
                <a:p>
                  <a:endParaRPr lang="ja-JP" altLang="en-US" sz="1600" b="1">
                    <a:latin typeface="Times New Roman" charset="0"/>
                    <a:cs typeface="Times New Roman" charset="0"/>
                  </a:endParaRPr>
                </a:p>
              </p:txBody>
            </p:sp>
            <p:sp>
              <p:nvSpPr>
                <p:cNvPr id="46143" name="Freeform 135"/>
                <p:cNvSpPr>
                  <a:spLocks/>
                </p:cNvSpPr>
                <p:nvPr/>
              </p:nvSpPr>
              <p:spPr bwMode="auto">
                <a:xfrm>
                  <a:off x="4853" y="3300"/>
                  <a:ext cx="187" cy="229"/>
                </a:xfrm>
                <a:custGeom>
                  <a:avLst/>
                  <a:gdLst>
                    <a:gd name="T0" fmla="*/ 0 w 1119"/>
                    <a:gd name="T1" fmla="*/ 0 h 1371"/>
                    <a:gd name="T2" fmla="*/ 0 w 1119"/>
                    <a:gd name="T3" fmla="*/ 0 h 1371"/>
                    <a:gd name="T4" fmla="*/ 0 w 1119"/>
                    <a:gd name="T5" fmla="*/ 0 h 1371"/>
                    <a:gd name="T6" fmla="*/ 0 w 1119"/>
                    <a:gd name="T7" fmla="*/ 0 h 1371"/>
                    <a:gd name="T8" fmla="*/ 0 w 1119"/>
                    <a:gd name="T9" fmla="*/ 0 h 1371"/>
                    <a:gd name="T10" fmla="*/ 0 w 1119"/>
                    <a:gd name="T11" fmla="*/ 0 h 1371"/>
                    <a:gd name="T12" fmla="*/ 0 w 1119"/>
                    <a:gd name="T13" fmla="*/ 0 h 1371"/>
                    <a:gd name="T14" fmla="*/ 0 w 1119"/>
                    <a:gd name="T15" fmla="*/ 0 h 1371"/>
                    <a:gd name="T16" fmla="*/ 0 w 1119"/>
                    <a:gd name="T17" fmla="*/ 0 h 1371"/>
                    <a:gd name="T18" fmla="*/ 0 w 1119"/>
                    <a:gd name="T19" fmla="*/ 0 h 1371"/>
                    <a:gd name="T20" fmla="*/ 0 w 1119"/>
                    <a:gd name="T21" fmla="*/ 0 h 1371"/>
                    <a:gd name="T22" fmla="*/ 0 w 1119"/>
                    <a:gd name="T23" fmla="*/ 0 h 1371"/>
                    <a:gd name="T24" fmla="*/ 0 w 1119"/>
                    <a:gd name="T25" fmla="*/ 0 h 1371"/>
                    <a:gd name="T26" fmla="*/ 0 w 1119"/>
                    <a:gd name="T27" fmla="*/ 0 h 1371"/>
                    <a:gd name="T28" fmla="*/ 0 w 1119"/>
                    <a:gd name="T29" fmla="*/ 0 h 1371"/>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119"/>
                    <a:gd name="T46" fmla="*/ 0 h 1371"/>
                    <a:gd name="T47" fmla="*/ 1119 w 1119"/>
                    <a:gd name="T48" fmla="*/ 1371 h 1371"/>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119" h="1371">
                      <a:moveTo>
                        <a:pt x="23" y="193"/>
                      </a:moveTo>
                      <a:lnTo>
                        <a:pt x="72" y="1096"/>
                      </a:lnTo>
                      <a:lnTo>
                        <a:pt x="342" y="1100"/>
                      </a:lnTo>
                      <a:lnTo>
                        <a:pt x="342" y="1128"/>
                      </a:lnTo>
                      <a:lnTo>
                        <a:pt x="0" y="1161"/>
                      </a:lnTo>
                      <a:lnTo>
                        <a:pt x="0" y="1260"/>
                      </a:lnTo>
                      <a:lnTo>
                        <a:pt x="281" y="1371"/>
                      </a:lnTo>
                      <a:lnTo>
                        <a:pt x="1052" y="1205"/>
                      </a:lnTo>
                      <a:lnTo>
                        <a:pt x="1052" y="1145"/>
                      </a:lnTo>
                      <a:lnTo>
                        <a:pt x="810" y="1100"/>
                      </a:lnTo>
                      <a:lnTo>
                        <a:pt x="810" y="1052"/>
                      </a:lnTo>
                      <a:lnTo>
                        <a:pt x="1090" y="952"/>
                      </a:lnTo>
                      <a:lnTo>
                        <a:pt x="1119" y="21"/>
                      </a:lnTo>
                      <a:lnTo>
                        <a:pt x="199" y="0"/>
                      </a:lnTo>
                      <a:lnTo>
                        <a:pt x="23" y="193"/>
                      </a:lnTo>
                      <a:close/>
                    </a:path>
                  </a:pathLst>
                </a:custGeom>
                <a:solidFill>
                  <a:srgbClr val="D8D8D8"/>
                </a:solidFill>
                <a:ln w="9525">
                  <a:noFill/>
                  <a:round/>
                  <a:headEnd/>
                  <a:tailEnd/>
                </a:ln>
              </p:spPr>
              <p:txBody>
                <a:bodyPr/>
                <a:lstStyle/>
                <a:p>
                  <a:endParaRPr lang="ja-JP" altLang="en-US" sz="1600" b="1">
                    <a:latin typeface="Times New Roman" charset="0"/>
                    <a:cs typeface="Times New Roman" charset="0"/>
                  </a:endParaRPr>
                </a:p>
              </p:txBody>
            </p:sp>
            <p:sp>
              <p:nvSpPr>
                <p:cNvPr id="46144" name="Freeform 136"/>
                <p:cNvSpPr>
                  <a:spLocks/>
                </p:cNvSpPr>
                <p:nvPr/>
              </p:nvSpPr>
              <p:spPr bwMode="auto">
                <a:xfrm>
                  <a:off x="4882" y="3498"/>
                  <a:ext cx="164" cy="65"/>
                </a:xfrm>
                <a:custGeom>
                  <a:avLst/>
                  <a:gdLst>
                    <a:gd name="T0" fmla="*/ 0 w 985"/>
                    <a:gd name="T1" fmla="*/ 0 h 390"/>
                    <a:gd name="T2" fmla="*/ 0 w 985"/>
                    <a:gd name="T3" fmla="*/ 0 h 390"/>
                    <a:gd name="T4" fmla="*/ 0 w 985"/>
                    <a:gd name="T5" fmla="*/ 0 h 390"/>
                    <a:gd name="T6" fmla="*/ 0 w 985"/>
                    <a:gd name="T7" fmla="*/ 0 h 390"/>
                    <a:gd name="T8" fmla="*/ 0 w 985"/>
                    <a:gd name="T9" fmla="*/ 0 h 390"/>
                    <a:gd name="T10" fmla="*/ 0 w 985"/>
                    <a:gd name="T11" fmla="*/ 0 h 390"/>
                    <a:gd name="T12" fmla="*/ 0 w 985"/>
                    <a:gd name="T13" fmla="*/ 0 h 390"/>
                    <a:gd name="T14" fmla="*/ 0 60000 65536"/>
                    <a:gd name="T15" fmla="*/ 0 60000 65536"/>
                    <a:gd name="T16" fmla="*/ 0 60000 65536"/>
                    <a:gd name="T17" fmla="*/ 0 60000 65536"/>
                    <a:gd name="T18" fmla="*/ 0 60000 65536"/>
                    <a:gd name="T19" fmla="*/ 0 60000 65536"/>
                    <a:gd name="T20" fmla="*/ 0 60000 65536"/>
                    <a:gd name="T21" fmla="*/ 0 w 985"/>
                    <a:gd name="T22" fmla="*/ 0 h 390"/>
                    <a:gd name="T23" fmla="*/ 985 w 985"/>
                    <a:gd name="T24" fmla="*/ 390 h 39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985" h="390">
                      <a:moveTo>
                        <a:pt x="5" y="153"/>
                      </a:moveTo>
                      <a:lnTo>
                        <a:pt x="0" y="231"/>
                      </a:lnTo>
                      <a:lnTo>
                        <a:pt x="380" y="390"/>
                      </a:lnTo>
                      <a:lnTo>
                        <a:pt x="963" y="219"/>
                      </a:lnTo>
                      <a:lnTo>
                        <a:pt x="985" y="44"/>
                      </a:lnTo>
                      <a:lnTo>
                        <a:pt x="853" y="0"/>
                      </a:lnTo>
                      <a:lnTo>
                        <a:pt x="5" y="153"/>
                      </a:lnTo>
                      <a:close/>
                    </a:path>
                  </a:pathLst>
                </a:custGeom>
                <a:solidFill>
                  <a:srgbClr val="BFBFBF"/>
                </a:solidFill>
                <a:ln w="9525">
                  <a:noFill/>
                  <a:round/>
                  <a:headEnd/>
                  <a:tailEnd/>
                </a:ln>
              </p:spPr>
              <p:txBody>
                <a:bodyPr/>
                <a:lstStyle/>
                <a:p>
                  <a:endParaRPr lang="ja-JP" altLang="en-US" sz="1600" b="1">
                    <a:latin typeface="Times New Roman" charset="0"/>
                    <a:cs typeface="Times New Roman" charset="0"/>
                  </a:endParaRPr>
                </a:p>
              </p:txBody>
            </p:sp>
            <p:sp>
              <p:nvSpPr>
                <p:cNvPr id="46145" name="Freeform 137"/>
                <p:cNvSpPr>
                  <a:spLocks/>
                </p:cNvSpPr>
                <p:nvPr/>
              </p:nvSpPr>
              <p:spPr bwMode="auto">
                <a:xfrm>
                  <a:off x="5014" y="3502"/>
                  <a:ext cx="32" cy="43"/>
                </a:xfrm>
                <a:custGeom>
                  <a:avLst/>
                  <a:gdLst>
                    <a:gd name="T0" fmla="*/ 0 w 190"/>
                    <a:gd name="T1" fmla="*/ 0 h 259"/>
                    <a:gd name="T2" fmla="*/ 0 w 190"/>
                    <a:gd name="T3" fmla="*/ 0 h 259"/>
                    <a:gd name="T4" fmla="*/ 0 w 190"/>
                    <a:gd name="T5" fmla="*/ 0 h 259"/>
                    <a:gd name="T6" fmla="*/ 0 w 190"/>
                    <a:gd name="T7" fmla="*/ 0 h 259"/>
                    <a:gd name="T8" fmla="*/ 0 w 190"/>
                    <a:gd name="T9" fmla="*/ 0 h 259"/>
                    <a:gd name="T10" fmla="*/ 0 w 190"/>
                    <a:gd name="T11" fmla="*/ 0 h 259"/>
                    <a:gd name="T12" fmla="*/ 0 w 190"/>
                    <a:gd name="T13" fmla="*/ 0 h 259"/>
                    <a:gd name="T14" fmla="*/ 0 w 190"/>
                    <a:gd name="T15" fmla="*/ 0 h 259"/>
                    <a:gd name="T16" fmla="*/ 0 w 190"/>
                    <a:gd name="T17" fmla="*/ 0 h 259"/>
                    <a:gd name="T18" fmla="*/ 0 w 190"/>
                    <a:gd name="T19" fmla="*/ 0 h 259"/>
                    <a:gd name="T20" fmla="*/ 0 w 190"/>
                    <a:gd name="T21" fmla="*/ 0 h 259"/>
                    <a:gd name="T22" fmla="*/ 0 w 190"/>
                    <a:gd name="T23" fmla="*/ 0 h 259"/>
                    <a:gd name="T24" fmla="*/ 0 w 190"/>
                    <a:gd name="T25" fmla="*/ 0 h 259"/>
                    <a:gd name="T26" fmla="*/ 0 w 190"/>
                    <a:gd name="T27" fmla="*/ 0 h 259"/>
                    <a:gd name="T28" fmla="*/ 0 w 190"/>
                    <a:gd name="T29" fmla="*/ 0 h 259"/>
                    <a:gd name="T30" fmla="*/ 0 w 190"/>
                    <a:gd name="T31" fmla="*/ 0 h 259"/>
                    <a:gd name="T32" fmla="*/ 0 w 190"/>
                    <a:gd name="T33" fmla="*/ 0 h 259"/>
                    <a:gd name="T34" fmla="*/ 0 w 190"/>
                    <a:gd name="T35" fmla="*/ 0 h 259"/>
                    <a:gd name="T36" fmla="*/ 0 w 190"/>
                    <a:gd name="T37" fmla="*/ 0 h 259"/>
                    <a:gd name="T38" fmla="*/ 0 w 190"/>
                    <a:gd name="T39" fmla="*/ 0 h 259"/>
                    <a:gd name="T40" fmla="*/ 0 w 190"/>
                    <a:gd name="T41" fmla="*/ 0 h 259"/>
                    <a:gd name="T42" fmla="*/ 0 w 190"/>
                    <a:gd name="T43" fmla="*/ 0 h 259"/>
                    <a:gd name="T44" fmla="*/ 0 w 190"/>
                    <a:gd name="T45" fmla="*/ 0 h 259"/>
                    <a:gd name="T46" fmla="*/ 0 w 190"/>
                    <a:gd name="T47" fmla="*/ 0 h 259"/>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90"/>
                    <a:gd name="T73" fmla="*/ 0 h 259"/>
                    <a:gd name="T74" fmla="*/ 190 w 190"/>
                    <a:gd name="T75" fmla="*/ 259 h 259"/>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90" h="259">
                      <a:moveTo>
                        <a:pt x="5" y="73"/>
                      </a:moveTo>
                      <a:lnTo>
                        <a:pt x="7" y="79"/>
                      </a:lnTo>
                      <a:lnTo>
                        <a:pt x="4" y="87"/>
                      </a:lnTo>
                      <a:lnTo>
                        <a:pt x="3" y="97"/>
                      </a:lnTo>
                      <a:lnTo>
                        <a:pt x="7" y="106"/>
                      </a:lnTo>
                      <a:lnTo>
                        <a:pt x="19" y="119"/>
                      </a:lnTo>
                      <a:lnTo>
                        <a:pt x="32" y="131"/>
                      </a:lnTo>
                      <a:lnTo>
                        <a:pt x="45" y="143"/>
                      </a:lnTo>
                      <a:lnTo>
                        <a:pt x="59" y="154"/>
                      </a:lnTo>
                      <a:lnTo>
                        <a:pt x="71" y="163"/>
                      </a:lnTo>
                      <a:lnTo>
                        <a:pt x="81" y="171"/>
                      </a:lnTo>
                      <a:lnTo>
                        <a:pt x="88" y="175"/>
                      </a:lnTo>
                      <a:lnTo>
                        <a:pt x="90" y="176"/>
                      </a:lnTo>
                      <a:lnTo>
                        <a:pt x="146" y="259"/>
                      </a:lnTo>
                      <a:lnTo>
                        <a:pt x="190" y="44"/>
                      </a:lnTo>
                      <a:lnTo>
                        <a:pt x="75" y="0"/>
                      </a:lnTo>
                      <a:lnTo>
                        <a:pt x="70" y="1"/>
                      </a:lnTo>
                      <a:lnTo>
                        <a:pt x="59" y="5"/>
                      </a:lnTo>
                      <a:lnTo>
                        <a:pt x="45" y="12"/>
                      </a:lnTo>
                      <a:lnTo>
                        <a:pt x="29" y="20"/>
                      </a:lnTo>
                      <a:lnTo>
                        <a:pt x="14" y="31"/>
                      </a:lnTo>
                      <a:lnTo>
                        <a:pt x="4" y="43"/>
                      </a:lnTo>
                      <a:lnTo>
                        <a:pt x="0" y="57"/>
                      </a:lnTo>
                      <a:lnTo>
                        <a:pt x="5" y="73"/>
                      </a:lnTo>
                      <a:close/>
                    </a:path>
                  </a:pathLst>
                </a:custGeom>
                <a:solidFill>
                  <a:srgbClr val="F2CCB2"/>
                </a:solidFill>
                <a:ln w="9525">
                  <a:noFill/>
                  <a:round/>
                  <a:headEnd/>
                  <a:tailEnd/>
                </a:ln>
              </p:spPr>
              <p:txBody>
                <a:bodyPr/>
                <a:lstStyle/>
                <a:p>
                  <a:endParaRPr lang="ja-JP" altLang="en-US" sz="1600" b="1">
                    <a:latin typeface="Times New Roman" charset="0"/>
                    <a:cs typeface="Times New Roman" charset="0"/>
                  </a:endParaRPr>
                </a:p>
              </p:txBody>
            </p:sp>
            <p:sp>
              <p:nvSpPr>
                <p:cNvPr id="46146" name="Freeform 138"/>
                <p:cNvSpPr>
                  <a:spLocks/>
                </p:cNvSpPr>
                <p:nvPr/>
              </p:nvSpPr>
              <p:spPr bwMode="auto">
                <a:xfrm>
                  <a:off x="4956" y="3512"/>
                  <a:ext cx="50" cy="55"/>
                </a:xfrm>
                <a:custGeom>
                  <a:avLst/>
                  <a:gdLst>
                    <a:gd name="T0" fmla="*/ 0 w 298"/>
                    <a:gd name="T1" fmla="*/ 0 h 333"/>
                    <a:gd name="T2" fmla="*/ 0 w 298"/>
                    <a:gd name="T3" fmla="*/ 0 h 333"/>
                    <a:gd name="T4" fmla="*/ 0 w 298"/>
                    <a:gd name="T5" fmla="*/ 0 h 333"/>
                    <a:gd name="T6" fmla="*/ 0 w 298"/>
                    <a:gd name="T7" fmla="*/ 0 h 333"/>
                    <a:gd name="T8" fmla="*/ 0 w 298"/>
                    <a:gd name="T9" fmla="*/ 0 h 333"/>
                    <a:gd name="T10" fmla="*/ 0 w 298"/>
                    <a:gd name="T11" fmla="*/ 0 h 333"/>
                    <a:gd name="T12" fmla="*/ 0 w 298"/>
                    <a:gd name="T13" fmla="*/ 0 h 333"/>
                    <a:gd name="T14" fmla="*/ 0 w 298"/>
                    <a:gd name="T15" fmla="*/ 0 h 333"/>
                    <a:gd name="T16" fmla="*/ 0 w 298"/>
                    <a:gd name="T17" fmla="*/ 0 h 333"/>
                    <a:gd name="T18" fmla="*/ 0 w 298"/>
                    <a:gd name="T19" fmla="*/ 0 h 333"/>
                    <a:gd name="T20" fmla="*/ 0 w 298"/>
                    <a:gd name="T21" fmla="*/ 0 h 333"/>
                    <a:gd name="T22" fmla="*/ 0 w 298"/>
                    <a:gd name="T23" fmla="*/ 0 h 333"/>
                    <a:gd name="T24" fmla="*/ 0 w 298"/>
                    <a:gd name="T25" fmla="*/ 0 h 333"/>
                    <a:gd name="T26" fmla="*/ 0 w 298"/>
                    <a:gd name="T27" fmla="*/ 0 h 333"/>
                    <a:gd name="T28" fmla="*/ 0 w 298"/>
                    <a:gd name="T29" fmla="*/ 0 h 333"/>
                    <a:gd name="T30" fmla="*/ 0 w 298"/>
                    <a:gd name="T31" fmla="*/ 0 h 333"/>
                    <a:gd name="T32" fmla="*/ 0 w 298"/>
                    <a:gd name="T33" fmla="*/ 0 h 333"/>
                    <a:gd name="T34" fmla="*/ 0 w 298"/>
                    <a:gd name="T35" fmla="*/ 0 h 333"/>
                    <a:gd name="T36" fmla="*/ 0 w 298"/>
                    <a:gd name="T37" fmla="*/ 0 h 333"/>
                    <a:gd name="T38" fmla="*/ 0 w 298"/>
                    <a:gd name="T39" fmla="*/ 0 h 333"/>
                    <a:gd name="T40" fmla="*/ 0 w 298"/>
                    <a:gd name="T41" fmla="*/ 0 h 333"/>
                    <a:gd name="T42" fmla="*/ 0 w 298"/>
                    <a:gd name="T43" fmla="*/ 0 h 333"/>
                    <a:gd name="T44" fmla="*/ 0 w 298"/>
                    <a:gd name="T45" fmla="*/ 0 h 333"/>
                    <a:gd name="T46" fmla="*/ 0 w 298"/>
                    <a:gd name="T47" fmla="*/ 0 h 333"/>
                    <a:gd name="T48" fmla="*/ 0 w 298"/>
                    <a:gd name="T49" fmla="*/ 0 h 333"/>
                    <a:gd name="T50" fmla="*/ 0 w 298"/>
                    <a:gd name="T51" fmla="*/ 0 h 333"/>
                    <a:gd name="T52" fmla="*/ 0 w 298"/>
                    <a:gd name="T53" fmla="*/ 0 h 333"/>
                    <a:gd name="T54" fmla="*/ 0 w 298"/>
                    <a:gd name="T55" fmla="*/ 0 h 333"/>
                    <a:gd name="T56" fmla="*/ 0 w 298"/>
                    <a:gd name="T57" fmla="*/ 0 h 333"/>
                    <a:gd name="T58" fmla="*/ 0 w 298"/>
                    <a:gd name="T59" fmla="*/ 0 h 333"/>
                    <a:gd name="T60" fmla="*/ 0 w 298"/>
                    <a:gd name="T61" fmla="*/ 0 h 333"/>
                    <a:gd name="T62" fmla="*/ 0 w 298"/>
                    <a:gd name="T63" fmla="*/ 0 h 333"/>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298"/>
                    <a:gd name="T97" fmla="*/ 0 h 333"/>
                    <a:gd name="T98" fmla="*/ 298 w 298"/>
                    <a:gd name="T99" fmla="*/ 333 h 333"/>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298" h="333">
                      <a:moveTo>
                        <a:pt x="0" y="59"/>
                      </a:moveTo>
                      <a:lnTo>
                        <a:pt x="12" y="79"/>
                      </a:lnTo>
                      <a:lnTo>
                        <a:pt x="23" y="102"/>
                      </a:lnTo>
                      <a:lnTo>
                        <a:pt x="30" y="128"/>
                      </a:lnTo>
                      <a:lnTo>
                        <a:pt x="34" y="158"/>
                      </a:lnTo>
                      <a:lnTo>
                        <a:pt x="33" y="177"/>
                      </a:lnTo>
                      <a:lnTo>
                        <a:pt x="31" y="199"/>
                      </a:lnTo>
                      <a:lnTo>
                        <a:pt x="31" y="223"/>
                      </a:lnTo>
                      <a:lnTo>
                        <a:pt x="31" y="249"/>
                      </a:lnTo>
                      <a:lnTo>
                        <a:pt x="34" y="273"/>
                      </a:lnTo>
                      <a:lnTo>
                        <a:pt x="40" y="296"/>
                      </a:lnTo>
                      <a:lnTo>
                        <a:pt x="50" y="315"/>
                      </a:lnTo>
                      <a:lnTo>
                        <a:pt x="66" y="328"/>
                      </a:lnTo>
                      <a:lnTo>
                        <a:pt x="87" y="333"/>
                      </a:lnTo>
                      <a:lnTo>
                        <a:pt x="114" y="327"/>
                      </a:lnTo>
                      <a:lnTo>
                        <a:pt x="142" y="314"/>
                      </a:lnTo>
                      <a:lnTo>
                        <a:pt x="171" y="297"/>
                      </a:lnTo>
                      <a:lnTo>
                        <a:pt x="197" y="279"/>
                      </a:lnTo>
                      <a:lnTo>
                        <a:pt x="217" y="262"/>
                      </a:lnTo>
                      <a:lnTo>
                        <a:pt x="233" y="250"/>
                      </a:lnTo>
                      <a:lnTo>
                        <a:pt x="238" y="246"/>
                      </a:lnTo>
                      <a:lnTo>
                        <a:pt x="240" y="242"/>
                      </a:lnTo>
                      <a:lnTo>
                        <a:pt x="247" y="231"/>
                      </a:lnTo>
                      <a:lnTo>
                        <a:pt x="257" y="216"/>
                      </a:lnTo>
                      <a:lnTo>
                        <a:pt x="267" y="197"/>
                      </a:lnTo>
                      <a:lnTo>
                        <a:pt x="278" y="178"/>
                      </a:lnTo>
                      <a:lnTo>
                        <a:pt x="289" y="160"/>
                      </a:lnTo>
                      <a:lnTo>
                        <a:pt x="296" y="144"/>
                      </a:lnTo>
                      <a:lnTo>
                        <a:pt x="298" y="135"/>
                      </a:lnTo>
                      <a:lnTo>
                        <a:pt x="298" y="108"/>
                      </a:lnTo>
                      <a:lnTo>
                        <a:pt x="295" y="65"/>
                      </a:lnTo>
                      <a:lnTo>
                        <a:pt x="284" y="23"/>
                      </a:lnTo>
                      <a:lnTo>
                        <a:pt x="265" y="3"/>
                      </a:lnTo>
                      <a:lnTo>
                        <a:pt x="254" y="4"/>
                      </a:lnTo>
                      <a:lnTo>
                        <a:pt x="245" y="11"/>
                      </a:lnTo>
                      <a:lnTo>
                        <a:pt x="239" y="22"/>
                      </a:lnTo>
                      <a:lnTo>
                        <a:pt x="233" y="34"/>
                      </a:lnTo>
                      <a:lnTo>
                        <a:pt x="229" y="47"/>
                      </a:lnTo>
                      <a:lnTo>
                        <a:pt x="227" y="59"/>
                      </a:lnTo>
                      <a:lnTo>
                        <a:pt x="226" y="66"/>
                      </a:lnTo>
                      <a:lnTo>
                        <a:pt x="226" y="69"/>
                      </a:lnTo>
                      <a:lnTo>
                        <a:pt x="224" y="67"/>
                      </a:lnTo>
                      <a:lnTo>
                        <a:pt x="221" y="61"/>
                      </a:lnTo>
                      <a:lnTo>
                        <a:pt x="216" y="52"/>
                      </a:lnTo>
                      <a:lnTo>
                        <a:pt x="210" y="41"/>
                      </a:lnTo>
                      <a:lnTo>
                        <a:pt x="204" y="29"/>
                      </a:lnTo>
                      <a:lnTo>
                        <a:pt x="198" y="18"/>
                      </a:lnTo>
                      <a:lnTo>
                        <a:pt x="192" y="9"/>
                      </a:lnTo>
                      <a:lnTo>
                        <a:pt x="187" y="3"/>
                      </a:lnTo>
                      <a:lnTo>
                        <a:pt x="184" y="2"/>
                      </a:lnTo>
                      <a:lnTo>
                        <a:pt x="176" y="0"/>
                      </a:lnTo>
                      <a:lnTo>
                        <a:pt x="165" y="2"/>
                      </a:lnTo>
                      <a:lnTo>
                        <a:pt x="152" y="3"/>
                      </a:lnTo>
                      <a:lnTo>
                        <a:pt x="136" y="5"/>
                      </a:lnTo>
                      <a:lnTo>
                        <a:pt x="120" y="9"/>
                      </a:lnTo>
                      <a:lnTo>
                        <a:pt x="103" y="12"/>
                      </a:lnTo>
                      <a:lnTo>
                        <a:pt x="85" y="16"/>
                      </a:lnTo>
                      <a:lnTo>
                        <a:pt x="67" y="21"/>
                      </a:lnTo>
                      <a:lnTo>
                        <a:pt x="50" y="27"/>
                      </a:lnTo>
                      <a:lnTo>
                        <a:pt x="35" y="31"/>
                      </a:lnTo>
                      <a:lnTo>
                        <a:pt x="22" y="37"/>
                      </a:lnTo>
                      <a:lnTo>
                        <a:pt x="11" y="42"/>
                      </a:lnTo>
                      <a:lnTo>
                        <a:pt x="4" y="48"/>
                      </a:lnTo>
                      <a:lnTo>
                        <a:pt x="0" y="54"/>
                      </a:lnTo>
                      <a:lnTo>
                        <a:pt x="0" y="59"/>
                      </a:lnTo>
                      <a:close/>
                    </a:path>
                  </a:pathLst>
                </a:custGeom>
                <a:solidFill>
                  <a:srgbClr val="F2CCB2"/>
                </a:solidFill>
                <a:ln w="9525">
                  <a:noFill/>
                  <a:round/>
                  <a:headEnd/>
                  <a:tailEnd/>
                </a:ln>
              </p:spPr>
              <p:txBody>
                <a:bodyPr/>
                <a:lstStyle/>
                <a:p>
                  <a:endParaRPr lang="ja-JP" altLang="en-US" sz="1600" b="1">
                    <a:latin typeface="Times New Roman" charset="0"/>
                    <a:cs typeface="Times New Roman" charset="0"/>
                  </a:endParaRPr>
                </a:p>
              </p:txBody>
            </p:sp>
            <p:sp>
              <p:nvSpPr>
                <p:cNvPr id="46147" name="Freeform 139"/>
                <p:cNvSpPr>
                  <a:spLocks/>
                </p:cNvSpPr>
                <p:nvPr/>
              </p:nvSpPr>
              <p:spPr bwMode="auto">
                <a:xfrm>
                  <a:off x="5080" y="3521"/>
                  <a:ext cx="136" cy="131"/>
                </a:xfrm>
                <a:custGeom>
                  <a:avLst/>
                  <a:gdLst>
                    <a:gd name="T0" fmla="*/ 0 w 815"/>
                    <a:gd name="T1" fmla="*/ 0 h 785"/>
                    <a:gd name="T2" fmla="*/ 0 w 815"/>
                    <a:gd name="T3" fmla="*/ 0 h 785"/>
                    <a:gd name="T4" fmla="*/ 0 w 815"/>
                    <a:gd name="T5" fmla="*/ 0 h 785"/>
                    <a:gd name="T6" fmla="*/ 0 w 815"/>
                    <a:gd name="T7" fmla="*/ 0 h 785"/>
                    <a:gd name="T8" fmla="*/ 0 w 815"/>
                    <a:gd name="T9" fmla="*/ 0 h 785"/>
                    <a:gd name="T10" fmla="*/ 0 w 815"/>
                    <a:gd name="T11" fmla="*/ 0 h 785"/>
                    <a:gd name="T12" fmla="*/ 0 w 815"/>
                    <a:gd name="T13" fmla="*/ 0 h 785"/>
                    <a:gd name="T14" fmla="*/ 0 w 815"/>
                    <a:gd name="T15" fmla="*/ 0 h 785"/>
                    <a:gd name="T16" fmla="*/ 0 w 815"/>
                    <a:gd name="T17" fmla="*/ 0 h 785"/>
                    <a:gd name="T18" fmla="*/ 0 w 815"/>
                    <a:gd name="T19" fmla="*/ 0 h 785"/>
                    <a:gd name="T20" fmla="*/ 0 w 815"/>
                    <a:gd name="T21" fmla="*/ 0 h 785"/>
                    <a:gd name="T22" fmla="*/ 0 w 815"/>
                    <a:gd name="T23" fmla="*/ 0 h 785"/>
                    <a:gd name="T24" fmla="*/ 0 w 815"/>
                    <a:gd name="T25" fmla="*/ 0 h 785"/>
                    <a:gd name="T26" fmla="*/ 0 w 815"/>
                    <a:gd name="T27" fmla="*/ 0 h 785"/>
                    <a:gd name="T28" fmla="*/ 0 w 815"/>
                    <a:gd name="T29" fmla="*/ 0 h 785"/>
                    <a:gd name="T30" fmla="*/ 0 w 815"/>
                    <a:gd name="T31" fmla="*/ 0 h 785"/>
                    <a:gd name="T32" fmla="*/ 0 w 815"/>
                    <a:gd name="T33" fmla="*/ 0 h 785"/>
                    <a:gd name="T34" fmla="*/ 0 w 815"/>
                    <a:gd name="T35" fmla="*/ 0 h 785"/>
                    <a:gd name="T36" fmla="*/ 0 w 815"/>
                    <a:gd name="T37" fmla="*/ 0 h 785"/>
                    <a:gd name="T38" fmla="*/ 0 w 815"/>
                    <a:gd name="T39" fmla="*/ 0 h 785"/>
                    <a:gd name="T40" fmla="*/ 0 w 815"/>
                    <a:gd name="T41" fmla="*/ 0 h 785"/>
                    <a:gd name="T42" fmla="*/ 0 w 815"/>
                    <a:gd name="T43" fmla="*/ 0 h 785"/>
                    <a:gd name="T44" fmla="*/ 0 w 815"/>
                    <a:gd name="T45" fmla="*/ 0 h 785"/>
                    <a:gd name="T46" fmla="*/ 0 w 815"/>
                    <a:gd name="T47" fmla="*/ 0 h 785"/>
                    <a:gd name="T48" fmla="*/ 0 w 815"/>
                    <a:gd name="T49" fmla="*/ 0 h 785"/>
                    <a:gd name="T50" fmla="*/ 0 w 815"/>
                    <a:gd name="T51" fmla="*/ 0 h 785"/>
                    <a:gd name="T52" fmla="*/ 0 w 815"/>
                    <a:gd name="T53" fmla="*/ 0 h 785"/>
                    <a:gd name="T54" fmla="*/ 0 w 815"/>
                    <a:gd name="T55" fmla="*/ 0 h 785"/>
                    <a:gd name="T56" fmla="*/ 0 w 815"/>
                    <a:gd name="T57" fmla="*/ 0 h 785"/>
                    <a:gd name="T58" fmla="*/ 0 w 815"/>
                    <a:gd name="T59" fmla="*/ 0 h 785"/>
                    <a:gd name="T60" fmla="*/ 0 w 815"/>
                    <a:gd name="T61" fmla="*/ 0 h 785"/>
                    <a:gd name="T62" fmla="*/ 0 w 815"/>
                    <a:gd name="T63" fmla="*/ 0 h 785"/>
                    <a:gd name="T64" fmla="*/ 0 w 815"/>
                    <a:gd name="T65" fmla="*/ 0 h 785"/>
                    <a:gd name="T66" fmla="*/ 0 w 815"/>
                    <a:gd name="T67" fmla="*/ 0 h 785"/>
                    <a:gd name="T68" fmla="*/ 0 w 815"/>
                    <a:gd name="T69" fmla="*/ 0 h 785"/>
                    <a:gd name="T70" fmla="*/ 0 w 815"/>
                    <a:gd name="T71" fmla="*/ 0 h 785"/>
                    <a:gd name="T72" fmla="*/ 0 w 815"/>
                    <a:gd name="T73" fmla="*/ 0 h 785"/>
                    <a:gd name="T74" fmla="*/ 0 w 815"/>
                    <a:gd name="T75" fmla="*/ 0 h 785"/>
                    <a:gd name="T76" fmla="*/ 0 w 815"/>
                    <a:gd name="T77" fmla="*/ 0 h 785"/>
                    <a:gd name="T78" fmla="*/ 0 w 815"/>
                    <a:gd name="T79" fmla="*/ 0 h 785"/>
                    <a:gd name="T80" fmla="*/ 0 w 815"/>
                    <a:gd name="T81" fmla="*/ 0 h 785"/>
                    <a:gd name="T82" fmla="*/ 0 w 815"/>
                    <a:gd name="T83" fmla="*/ 0 h 785"/>
                    <a:gd name="T84" fmla="*/ 0 w 815"/>
                    <a:gd name="T85" fmla="*/ 0 h 785"/>
                    <a:gd name="T86" fmla="*/ 0 w 815"/>
                    <a:gd name="T87" fmla="*/ 0 h 785"/>
                    <a:gd name="T88" fmla="*/ 0 w 815"/>
                    <a:gd name="T89" fmla="*/ 0 h 785"/>
                    <a:gd name="T90" fmla="*/ 0 w 815"/>
                    <a:gd name="T91" fmla="*/ 0 h 785"/>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815"/>
                    <a:gd name="T139" fmla="*/ 0 h 785"/>
                    <a:gd name="T140" fmla="*/ 815 w 815"/>
                    <a:gd name="T141" fmla="*/ 785 h 785"/>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815" h="785">
                      <a:moveTo>
                        <a:pt x="137" y="94"/>
                      </a:moveTo>
                      <a:lnTo>
                        <a:pt x="120" y="106"/>
                      </a:lnTo>
                      <a:lnTo>
                        <a:pt x="102" y="125"/>
                      </a:lnTo>
                      <a:lnTo>
                        <a:pt x="84" y="151"/>
                      </a:lnTo>
                      <a:lnTo>
                        <a:pt x="67" y="180"/>
                      </a:lnTo>
                      <a:lnTo>
                        <a:pt x="53" y="211"/>
                      </a:lnTo>
                      <a:lnTo>
                        <a:pt x="41" y="242"/>
                      </a:lnTo>
                      <a:lnTo>
                        <a:pt x="33" y="269"/>
                      </a:lnTo>
                      <a:lnTo>
                        <a:pt x="28" y="292"/>
                      </a:lnTo>
                      <a:lnTo>
                        <a:pt x="17" y="394"/>
                      </a:lnTo>
                      <a:lnTo>
                        <a:pt x="9" y="493"/>
                      </a:lnTo>
                      <a:lnTo>
                        <a:pt x="3" y="567"/>
                      </a:lnTo>
                      <a:lnTo>
                        <a:pt x="0" y="597"/>
                      </a:lnTo>
                      <a:lnTo>
                        <a:pt x="2" y="603"/>
                      </a:lnTo>
                      <a:lnTo>
                        <a:pt x="5" y="617"/>
                      </a:lnTo>
                      <a:lnTo>
                        <a:pt x="12" y="640"/>
                      </a:lnTo>
                      <a:lnTo>
                        <a:pt x="23" y="666"/>
                      </a:lnTo>
                      <a:lnTo>
                        <a:pt x="39" y="695"/>
                      </a:lnTo>
                      <a:lnTo>
                        <a:pt x="60" y="722"/>
                      </a:lnTo>
                      <a:lnTo>
                        <a:pt x="89" y="745"/>
                      </a:lnTo>
                      <a:lnTo>
                        <a:pt x="123" y="762"/>
                      </a:lnTo>
                      <a:lnTo>
                        <a:pt x="151" y="771"/>
                      </a:lnTo>
                      <a:lnTo>
                        <a:pt x="178" y="778"/>
                      </a:lnTo>
                      <a:lnTo>
                        <a:pt x="204" y="781"/>
                      </a:lnTo>
                      <a:lnTo>
                        <a:pt x="229" y="784"/>
                      </a:lnTo>
                      <a:lnTo>
                        <a:pt x="252" y="785"/>
                      </a:lnTo>
                      <a:lnTo>
                        <a:pt x="274" y="785"/>
                      </a:lnTo>
                      <a:lnTo>
                        <a:pt x="296" y="783"/>
                      </a:lnTo>
                      <a:lnTo>
                        <a:pt x="315" y="780"/>
                      </a:lnTo>
                      <a:lnTo>
                        <a:pt x="332" y="777"/>
                      </a:lnTo>
                      <a:lnTo>
                        <a:pt x="347" y="773"/>
                      </a:lnTo>
                      <a:lnTo>
                        <a:pt x="361" y="770"/>
                      </a:lnTo>
                      <a:lnTo>
                        <a:pt x="372" y="766"/>
                      </a:lnTo>
                      <a:lnTo>
                        <a:pt x="382" y="762"/>
                      </a:lnTo>
                      <a:lnTo>
                        <a:pt x="388" y="760"/>
                      </a:lnTo>
                      <a:lnTo>
                        <a:pt x="392" y="759"/>
                      </a:lnTo>
                      <a:lnTo>
                        <a:pt x="394" y="758"/>
                      </a:lnTo>
                      <a:lnTo>
                        <a:pt x="397" y="756"/>
                      </a:lnTo>
                      <a:lnTo>
                        <a:pt x="408" y="753"/>
                      </a:lnTo>
                      <a:lnTo>
                        <a:pt x="426" y="747"/>
                      </a:lnTo>
                      <a:lnTo>
                        <a:pt x="447" y="740"/>
                      </a:lnTo>
                      <a:lnTo>
                        <a:pt x="473" y="730"/>
                      </a:lnTo>
                      <a:lnTo>
                        <a:pt x="503" y="721"/>
                      </a:lnTo>
                      <a:lnTo>
                        <a:pt x="535" y="709"/>
                      </a:lnTo>
                      <a:lnTo>
                        <a:pt x="568" y="697"/>
                      </a:lnTo>
                      <a:lnTo>
                        <a:pt x="601" y="685"/>
                      </a:lnTo>
                      <a:lnTo>
                        <a:pt x="633" y="672"/>
                      </a:lnTo>
                      <a:lnTo>
                        <a:pt x="664" y="660"/>
                      </a:lnTo>
                      <a:lnTo>
                        <a:pt x="691" y="648"/>
                      </a:lnTo>
                      <a:lnTo>
                        <a:pt x="717" y="636"/>
                      </a:lnTo>
                      <a:lnTo>
                        <a:pt x="736" y="625"/>
                      </a:lnTo>
                      <a:lnTo>
                        <a:pt x="750" y="617"/>
                      </a:lnTo>
                      <a:lnTo>
                        <a:pt x="757" y="609"/>
                      </a:lnTo>
                      <a:lnTo>
                        <a:pt x="776" y="560"/>
                      </a:lnTo>
                      <a:lnTo>
                        <a:pt x="792" y="494"/>
                      </a:lnTo>
                      <a:lnTo>
                        <a:pt x="805" y="418"/>
                      </a:lnTo>
                      <a:lnTo>
                        <a:pt x="813" y="336"/>
                      </a:lnTo>
                      <a:lnTo>
                        <a:pt x="815" y="255"/>
                      </a:lnTo>
                      <a:lnTo>
                        <a:pt x="812" y="181"/>
                      </a:lnTo>
                      <a:lnTo>
                        <a:pt x="801" y="122"/>
                      </a:lnTo>
                      <a:lnTo>
                        <a:pt x="783" y="81"/>
                      </a:lnTo>
                      <a:lnTo>
                        <a:pt x="758" y="54"/>
                      </a:lnTo>
                      <a:lnTo>
                        <a:pt x="734" y="34"/>
                      </a:lnTo>
                      <a:lnTo>
                        <a:pt x="712" y="19"/>
                      </a:lnTo>
                      <a:lnTo>
                        <a:pt x="693" y="10"/>
                      </a:lnTo>
                      <a:lnTo>
                        <a:pt x="675" y="4"/>
                      </a:lnTo>
                      <a:lnTo>
                        <a:pt x="662" y="1"/>
                      </a:lnTo>
                      <a:lnTo>
                        <a:pt x="653" y="0"/>
                      </a:lnTo>
                      <a:lnTo>
                        <a:pt x="651" y="0"/>
                      </a:lnTo>
                      <a:lnTo>
                        <a:pt x="649" y="0"/>
                      </a:lnTo>
                      <a:lnTo>
                        <a:pt x="643" y="0"/>
                      </a:lnTo>
                      <a:lnTo>
                        <a:pt x="633" y="0"/>
                      </a:lnTo>
                      <a:lnTo>
                        <a:pt x="620" y="0"/>
                      </a:lnTo>
                      <a:lnTo>
                        <a:pt x="603" y="1"/>
                      </a:lnTo>
                      <a:lnTo>
                        <a:pt x="584" y="1"/>
                      </a:lnTo>
                      <a:lnTo>
                        <a:pt x="564" y="3"/>
                      </a:lnTo>
                      <a:lnTo>
                        <a:pt x="540" y="4"/>
                      </a:lnTo>
                      <a:lnTo>
                        <a:pt x="515" y="6"/>
                      </a:lnTo>
                      <a:lnTo>
                        <a:pt x="489" y="7"/>
                      </a:lnTo>
                      <a:lnTo>
                        <a:pt x="462" y="11"/>
                      </a:lnTo>
                      <a:lnTo>
                        <a:pt x="434" y="14"/>
                      </a:lnTo>
                      <a:lnTo>
                        <a:pt x="406" y="18"/>
                      </a:lnTo>
                      <a:lnTo>
                        <a:pt x="377" y="24"/>
                      </a:lnTo>
                      <a:lnTo>
                        <a:pt x="350" y="29"/>
                      </a:lnTo>
                      <a:lnTo>
                        <a:pt x="322" y="36"/>
                      </a:lnTo>
                      <a:lnTo>
                        <a:pt x="288" y="45"/>
                      </a:lnTo>
                      <a:lnTo>
                        <a:pt x="257" y="54"/>
                      </a:lnTo>
                      <a:lnTo>
                        <a:pt x="230" y="62"/>
                      </a:lnTo>
                      <a:lnTo>
                        <a:pt x="207" y="69"/>
                      </a:lnTo>
                      <a:lnTo>
                        <a:pt x="186" y="75"/>
                      </a:lnTo>
                      <a:lnTo>
                        <a:pt x="168" y="82"/>
                      </a:lnTo>
                      <a:lnTo>
                        <a:pt x="153" y="88"/>
                      </a:lnTo>
                      <a:lnTo>
                        <a:pt x="137" y="94"/>
                      </a:lnTo>
                      <a:close/>
                    </a:path>
                  </a:pathLst>
                </a:custGeom>
                <a:solidFill>
                  <a:srgbClr val="59A359"/>
                </a:solidFill>
                <a:ln w="9525">
                  <a:noFill/>
                  <a:round/>
                  <a:headEnd/>
                  <a:tailEnd/>
                </a:ln>
              </p:spPr>
              <p:txBody>
                <a:bodyPr/>
                <a:lstStyle/>
                <a:p>
                  <a:endParaRPr lang="ja-JP" altLang="en-US" sz="1600" b="1">
                    <a:latin typeface="Times New Roman" charset="0"/>
                    <a:cs typeface="Times New Roman" charset="0"/>
                  </a:endParaRPr>
                </a:p>
              </p:txBody>
            </p:sp>
            <p:sp>
              <p:nvSpPr>
                <p:cNvPr id="46148" name="Freeform 140"/>
                <p:cNvSpPr>
                  <a:spLocks/>
                </p:cNvSpPr>
                <p:nvPr/>
              </p:nvSpPr>
              <p:spPr bwMode="auto">
                <a:xfrm>
                  <a:off x="5137" y="3554"/>
                  <a:ext cx="58" cy="126"/>
                </a:xfrm>
                <a:custGeom>
                  <a:avLst/>
                  <a:gdLst>
                    <a:gd name="T0" fmla="*/ 0 w 348"/>
                    <a:gd name="T1" fmla="*/ 0 h 757"/>
                    <a:gd name="T2" fmla="*/ 0 w 348"/>
                    <a:gd name="T3" fmla="*/ 0 h 757"/>
                    <a:gd name="T4" fmla="*/ 0 w 348"/>
                    <a:gd name="T5" fmla="*/ 0 h 757"/>
                    <a:gd name="T6" fmla="*/ 0 w 348"/>
                    <a:gd name="T7" fmla="*/ 0 h 757"/>
                    <a:gd name="T8" fmla="*/ 0 w 348"/>
                    <a:gd name="T9" fmla="*/ 0 h 757"/>
                    <a:gd name="T10" fmla="*/ 0 w 348"/>
                    <a:gd name="T11" fmla="*/ 0 h 757"/>
                    <a:gd name="T12" fmla="*/ 0 w 348"/>
                    <a:gd name="T13" fmla="*/ 0 h 757"/>
                    <a:gd name="T14" fmla="*/ 0 w 348"/>
                    <a:gd name="T15" fmla="*/ 0 h 757"/>
                    <a:gd name="T16" fmla="*/ 0 w 348"/>
                    <a:gd name="T17" fmla="*/ 0 h 757"/>
                    <a:gd name="T18" fmla="*/ 0 w 348"/>
                    <a:gd name="T19" fmla="*/ 0 h 757"/>
                    <a:gd name="T20" fmla="*/ 0 w 348"/>
                    <a:gd name="T21" fmla="*/ 0 h 757"/>
                    <a:gd name="T22" fmla="*/ 0 w 348"/>
                    <a:gd name="T23" fmla="*/ 0 h 757"/>
                    <a:gd name="T24" fmla="*/ 0 w 348"/>
                    <a:gd name="T25" fmla="*/ 0 h 757"/>
                    <a:gd name="T26" fmla="*/ 0 w 348"/>
                    <a:gd name="T27" fmla="*/ 0 h 757"/>
                    <a:gd name="T28" fmla="*/ 0 w 348"/>
                    <a:gd name="T29" fmla="*/ 0 h 757"/>
                    <a:gd name="T30" fmla="*/ 0 w 348"/>
                    <a:gd name="T31" fmla="*/ 0 h 757"/>
                    <a:gd name="T32" fmla="*/ 0 w 348"/>
                    <a:gd name="T33" fmla="*/ 0 h 757"/>
                    <a:gd name="T34" fmla="*/ 0 w 348"/>
                    <a:gd name="T35" fmla="*/ 0 h 757"/>
                    <a:gd name="T36" fmla="*/ 0 w 348"/>
                    <a:gd name="T37" fmla="*/ 0 h 757"/>
                    <a:gd name="T38" fmla="*/ 0 w 348"/>
                    <a:gd name="T39" fmla="*/ 0 h 757"/>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348"/>
                    <a:gd name="T61" fmla="*/ 0 h 757"/>
                    <a:gd name="T62" fmla="*/ 348 w 348"/>
                    <a:gd name="T63" fmla="*/ 757 h 757"/>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348" h="757">
                      <a:moveTo>
                        <a:pt x="103" y="50"/>
                      </a:moveTo>
                      <a:lnTo>
                        <a:pt x="0" y="757"/>
                      </a:lnTo>
                      <a:lnTo>
                        <a:pt x="237" y="757"/>
                      </a:lnTo>
                      <a:lnTo>
                        <a:pt x="348" y="31"/>
                      </a:lnTo>
                      <a:lnTo>
                        <a:pt x="348" y="30"/>
                      </a:lnTo>
                      <a:lnTo>
                        <a:pt x="348" y="26"/>
                      </a:lnTo>
                      <a:lnTo>
                        <a:pt x="347" y="23"/>
                      </a:lnTo>
                      <a:lnTo>
                        <a:pt x="342" y="17"/>
                      </a:lnTo>
                      <a:lnTo>
                        <a:pt x="333" y="12"/>
                      </a:lnTo>
                      <a:lnTo>
                        <a:pt x="320" y="6"/>
                      </a:lnTo>
                      <a:lnTo>
                        <a:pt x="298" y="2"/>
                      </a:lnTo>
                      <a:lnTo>
                        <a:pt x="270" y="0"/>
                      </a:lnTo>
                      <a:lnTo>
                        <a:pt x="236" y="1"/>
                      </a:lnTo>
                      <a:lnTo>
                        <a:pt x="205" y="6"/>
                      </a:lnTo>
                      <a:lnTo>
                        <a:pt x="178" y="14"/>
                      </a:lnTo>
                      <a:lnTo>
                        <a:pt x="153" y="23"/>
                      </a:lnTo>
                      <a:lnTo>
                        <a:pt x="133" y="33"/>
                      </a:lnTo>
                      <a:lnTo>
                        <a:pt x="116" y="42"/>
                      </a:lnTo>
                      <a:lnTo>
                        <a:pt x="106" y="48"/>
                      </a:lnTo>
                      <a:lnTo>
                        <a:pt x="103" y="50"/>
                      </a:lnTo>
                      <a:close/>
                    </a:path>
                  </a:pathLst>
                </a:custGeom>
                <a:solidFill>
                  <a:srgbClr val="A5A5A5"/>
                </a:solidFill>
                <a:ln w="9525">
                  <a:noFill/>
                  <a:round/>
                  <a:headEnd/>
                  <a:tailEnd/>
                </a:ln>
              </p:spPr>
              <p:txBody>
                <a:bodyPr/>
                <a:lstStyle/>
                <a:p>
                  <a:endParaRPr lang="ja-JP" altLang="en-US" sz="1600" b="1">
                    <a:latin typeface="Times New Roman" charset="0"/>
                    <a:cs typeface="Times New Roman" charset="0"/>
                  </a:endParaRPr>
                </a:p>
              </p:txBody>
            </p:sp>
            <p:sp>
              <p:nvSpPr>
                <p:cNvPr id="46149" name="Freeform 141"/>
                <p:cNvSpPr>
                  <a:spLocks/>
                </p:cNvSpPr>
                <p:nvPr/>
              </p:nvSpPr>
              <p:spPr bwMode="auto">
                <a:xfrm>
                  <a:off x="4855" y="3421"/>
                  <a:ext cx="341" cy="172"/>
                </a:xfrm>
                <a:custGeom>
                  <a:avLst/>
                  <a:gdLst>
                    <a:gd name="T0" fmla="*/ 0 w 2045"/>
                    <a:gd name="T1" fmla="*/ 0 h 1033"/>
                    <a:gd name="T2" fmla="*/ 0 w 2045"/>
                    <a:gd name="T3" fmla="*/ 0 h 1033"/>
                    <a:gd name="T4" fmla="*/ 0 w 2045"/>
                    <a:gd name="T5" fmla="*/ 0 h 1033"/>
                    <a:gd name="T6" fmla="*/ 0 w 2045"/>
                    <a:gd name="T7" fmla="*/ 0 h 1033"/>
                    <a:gd name="T8" fmla="*/ 0 w 2045"/>
                    <a:gd name="T9" fmla="*/ 0 h 1033"/>
                    <a:gd name="T10" fmla="*/ 0 w 2045"/>
                    <a:gd name="T11" fmla="*/ 0 h 1033"/>
                    <a:gd name="T12" fmla="*/ 0 w 2045"/>
                    <a:gd name="T13" fmla="*/ 0 h 1033"/>
                    <a:gd name="T14" fmla="*/ 0 w 2045"/>
                    <a:gd name="T15" fmla="*/ 0 h 1033"/>
                    <a:gd name="T16" fmla="*/ 0 w 2045"/>
                    <a:gd name="T17" fmla="*/ 0 h 1033"/>
                    <a:gd name="T18" fmla="*/ 0 w 2045"/>
                    <a:gd name="T19" fmla="*/ 0 h 1033"/>
                    <a:gd name="T20" fmla="*/ 0 w 2045"/>
                    <a:gd name="T21" fmla="*/ 0 h 1033"/>
                    <a:gd name="T22" fmla="*/ 0 w 2045"/>
                    <a:gd name="T23" fmla="*/ 0 h 1033"/>
                    <a:gd name="T24" fmla="*/ 0 w 2045"/>
                    <a:gd name="T25" fmla="*/ 0 h 1033"/>
                    <a:gd name="T26" fmla="*/ 0 w 2045"/>
                    <a:gd name="T27" fmla="*/ 0 h 1033"/>
                    <a:gd name="T28" fmla="*/ 0 w 2045"/>
                    <a:gd name="T29" fmla="*/ 0 h 1033"/>
                    <a:gd name="T30" fmla="*/ 0 w 2045"/>
                    <a:gd name="T31" fmla="*/ 0 h 1033"/>
                    <a:gd name="T32" fmla="*/ 0 w 2045"/>
                    <a:gd name="T33" fmla="*/ 0 h 1033"/>
                    <a:gd name="T34" fmla="*/ 0 w 2045"/>
                    <a:gd name="T35" fmla="*/ 0 h 1033"/>
                    <a:gd name="T36" fmla="*/ 0 w 2045"/>
                    <a:gd name="T37" fmla="*/ 0 h 1033"/>
                    <a:gd name="T38" fmla="*/ 0 w 2045"/>
                    <a:gd name="T39" fmla="*/ 0 h 1033"/>
                    <a:gd name="T40" fmla="*/ 0 w 2045"/>
                    <a:gd name="T41" fmla="*/ 0 h 1033"/>
                    <a:gd name="T42" fmla="*/ 0 w 2045"/>
                    <a:gd name="T43" fmla="*/ 0 h 1033"/>
                    <a:gd name="T44" fmla="*/ 0 w 2045"/>
                    <a:gd name="T45" fmla="*/ 0 h 1033"/>
                    <a:gd name="T46" fmla="*/ 0 w 2045"/>
                    <a:gd name="T47" fmla="*/ 0 h 1033"/>
                    <a:gd name="T48" fmla="*/ 0 w 2045"/>
                    <a:gd name="T49" fmla="*/ 0 h 1033"/>
                    <a:gd name="T50" fmla="*/ 0 w 2045"/>
                    <a:gd name="T51" fmla="*/ 0 h 1033"/>
                    <a:gd name="T52" fmla="*/ 0 w 2045"/>
                    <a:gd name="T53" fmla="*/ 0 h 1033"/>
                    <a:gd name="T54" fmla="*/ 0 w 2045"/>
                    <a:gd name="T55" fmla="*/ 0 h 1033"/>
                    <a:gd name="T56" fmla="*/ 0 w 2045"/>
                    <a:gd name="T57" fmla="*/ 0 h 1033"/>
                    <a:gd name="T58" fmla="*/ 0 w 2045"/>
                    <a:gd name="T59" fmla="*/ 0 h 1033"/>
                    <a:gd name="T60" fmla="*/ 0 w 2045"/>
                    <a:gd name="T61" fmla="*/ 0 h 1033"/>
                    <a:gd name="T62" fmla="*/ 0 w 2045"/>
                    <a:gd name="T63" fmla="*/ 0 h 1033"/>
                    <a:gd name="T64" fmla="*/ 0 w 2045"/>
                    <a:gd name="T65" fmla="*/ 0 h 1033"/>
                    <a:gd name="T66" fmla="*/ 0 w 2045"/>
                    <a:gd name="T67" fmla="*/ 0 h 1033"/>
                    <a:gd name="T68" fmla="*/ 0 w 2045"/>
                    <a:gd name="T69" fmla="*/ 0 h 1033"/>
                    <a:gd name="T70" fmla="*/ 0 w 2045"/>
                    <a:gd name="T71" fmla="*/ 0 h 1033"/>
                    <a:gd name="T72" fmla="*/ 0 w 2045"/>
                    <a:gd name="T73" fmla="*/ 0 h 1033"/>
                    <a:gd name="T74" fmla="*/ 0 w 2045"/>
                    <a:gd name="T75" fmla="*/ 0 h 1033"/>
                    <a:gd name="T76" fmla="*/ 0 w 2045"/>
                    <a:gd name="T77" fmla="*/ 0 h 1033"/>
                    <a:gd name="T78" fmla="*/ 0 w 2045"/>
                    <a:gd name="T79" fmla="*/ 0 h 1033"/>
                    <a:gd name="T80" fmla="*/ 0 w 2045"/>
                    <a:gd name="T81" fmla="*/ 0 h 1033"/>
                    <a:gd name="T82" fmla="*/ 0 w 2045"/>
                    <a:gd name="T83" fmla="*/ 0 h 1033"/>
                    <a:gd name="T84" fmla="*/ 0 w 2045"/>
                    <a:gd name="T85" fmla="*/ 0 h 1033"/>
                    <a:gd name="T86" fmla="*/ 0 w 2045"/>
                    <a:gd name="T87" fmla="*/ 0 h 1033"/>
                    <a:gd name="T88" fmla="*/ 0 w 2045"/>
                    <a:gd name="T89" fmla="*/ 0 h 1033"/>
                    <a:gd name="T90" fmla="*/ 0 w 2045"/>
                    <a:gd name="T91" fmla="*/ 0 h 1033"/>
                    <a:gd name="T92" fmla="*/ 0 w 2045"/>
                    <a:gd name="T93" fmla="*/ 0 h 1033"/>
                    <a:gd name="T94" fmla="*/ 0 w 2045"/>
                    <a:gd name="T95" fmla="*/ 0 h 1033"/>
                    <a:gd name="T96" fmla="*/ 0 w 2045"/>
                    <a:gd name="T97" fmla="*/ 0 h 1033"/>
                    <a:gd name="T98" fmla="*/ 0 w 2045"/>
                    <a:gd name="T99" fmla="*/ 0 h 1033"/>
                    <a:gd name="T100" fmla="*/ 0 w 2045"/>
                    <a:gd name="T101" fmla="*/ 0 h 1033"/>
                    <a:gd name="T102" fmla="*/ 0 w 2045"/>
                    <a:gd name="T103" fmla="*/ 0 h 1033"/>
                    <a:gd name="T104" fmla="*/ 0 w 2045"/>
                    <a:gd name="T105" fmla="*/ 0 h 1033"/>
                    <a:gd name="T106" fmla="*/ 0 w 2045"/>
                    <a:gd name="T107" fmla="*/ 0 h 1033"/>
                    <a:gd name="T108" fmla="*/ 0 w 2045"/>
                    <a:gd name="T109" fmla="*/ 0 h 1033"/>
                    <a:gd name="T110" fmla="*/ 0 w 2045"/>
                    <a:gd name="T111" fmla="*/ 0 h 1033"/>
                    <a:gd name="T112" fmla="*/ 0 w 2045"/>
                    <a:gd name="T113" fmla="*/ 0 h 1033"/>
                    <a:gd name="T114" fmla="*/ 0 w 2045"/>
                    <a:gd name="T115" fmla="*/ 0 h 1033"/>
                    <a:gd name="T116" fmla="*/ 0 w 2045"/>
                    <a:gd name="T117" fmla="*/ 0 h 1033"/>
                    <a:gd name="T118" fmla="*/ 0 w 2045"/>
                    <a:gd name="T119" fmla="*/ 0 h 1033"/>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2045"/>
                    <a:gd name="T181" fmla="*/ 0 h 1033"/>
                    <a:gd name="T182" fmla="*/ 2045 w 2045"/>
                    <a:gd name="T183" fmla="*/ 1033 h 1033"/>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2045" h="1033">
                      <a:moveTo>
                        <a:pt x="981" y="881"/>
                      </a:moveTo>
                      <a:lnTo>
                        <a:pt x="1062" y="854"/>
                      </a:lnTo>
                      <a:lnTo>
                        <a:pt x="1061" y="871"/>
                      </a:lnTo>
                      <a:lnTo>
                        <a:pt x="1059" y="888"/>
                      </a:lnTo>
                      <a:lnTo>
                        <a:pt x="1056" y="906"/>
                      </a:lnTo>
                      <a:lnTo>
                        <a:pt x="1052" y="924"/>
                      </a:lnTo>
                      <a:lnTo>
                        <a:pt x="1044" y="942"/>
                      </a:lnTo>
                      <a:lnTo>
                        <a:pt x="1035" y="957"/>
                      </a:lnTo>
                      <a:lnTo>
                        <a:pt x="1023" y="972"/>
                      </a:lnTo>
                      <a:lnTo>
                        <a:pt x="1008" y="984"/>
                      </a:lnTo>
                      <a:lnTo>
                        <a:pt x="992" y="986"/>
                      </a:lnTo>
                      <a:lnTo>
                        <a:pt x="977" y="984"/>
                      </a:lnTo>
                      <a:lnTo>
                        <a:pt x="961" y="978"/>
                      </a:lnTo>
                      <a:lnTo>
                        <a:pt x="946" y="968"/>
                      </a:lnTo>
                      <a:lnTo>
                        <a:pt x="931" y="956"/>
                      </a:lnTo>
                      <a:lnTo>
                        <a:pt x="918" y="943"/>
                      </a:lnTo>
                      <a:lnTo>
                        <a:pt x="906" y="927"/>
                      </a:lnTo>
                      <a:lnTo>
                        <a:pt x="897" y="910"/>
                      </a:lnTo>
                      <a:lnTo>
                        <a:pt x="981" y="881"/>
                      </a:lnTo>
                      <a:lnTo>
                        <a:pt x="974" y="849"/>
                      </a:lnTo>
                      <a:lnTo>
                        <a:pt x="886" y="880"/>
                      </a:lnTo>
                      <a:lnTo>
                        <a:pt x="878" y="873"/>
                      </a:lnTo>
                      <a:lnTo>
                        <a:pt x="870" y="862"/>
                      </a:lnTo>
                      <a:lnTo>
                        <a:pt x="866" y="850"/>
                      </a:lnTo>
                      <a:lnTo>
                        <a:pt x="859" y="838"/>
                      </a:lnTo>
                      <a:lnTo>
                        <a:pt x="872" y="832"/>
                      </a:lnTo>
                      <a:lnTo>
                        <a:pt x="887" y="828"/>
                      </a:lnTo>
                      <a:lnTo>
                        <a:pt x="903" y="822"/>
                      </a:lnTo>
                      <a:lnTo>
                        <a:pt x="919" y="816"/>
                      </a:lnTo>
                      <a:lnTo>
                        <a:pt x="936" y="810"/>
                      </a:lnTo>
                      <a:lnTo>
                        <a:pt x="953" y="805"/>
                      </a:lnTo>
                      <a:lnTo>
                        <a:pt x="967" y="800"/>
                      </a:lnTo>
                      <a:lnTo>
                        <a:pt x="981" y="795"/>
                      </a:lnTo>
                      <a:lnTo>
                        <a:pt x="973" y="765"/>
                      </a:lnTo>
                      <a:lnTo>
                        <a:pt x="865" y="800"/>
                      </a:lnTo>
                      <a:lnTo>
                        <a:pt x="863" y="798"/>
                      </a:lnTo>
                      <a:lnTo>
                        <a:pt x="863" y="794"/>
                      </a:lnTo>
                      <a:lnTo>
                        <a:pt x="863" y="791"/>
                      </a:lnTo>
                      <a:lnTo>
                        <a:pt x="863" y="786"/>
                      </a:lnTo>
                      <a:lnTo>
                        <a:pt x="819" y="782"/>
                      </a:lnTo>
                      <a:lnTo>
                        <a:pt x="819" y="805"/>
                      </a:lnTo>
                      <a:lnTo>
                        <a:pt x="822" y="826"/>
                      </a:lnTo>
                      <a:lnTo>
                        <a:pt x="826" y="849"/>
                      </a:lnTo>
                      <a:lnTo>
                        <a:pt x="834" y="869"/>
                      </a:lnTo>
                      <a:lnTo>
                        <a:pt x="842" y="891"/>
                      </a:lnTo>
                      <a:lnTo>
                        <a:pt x="851" y="911"/>
                      </a:lnTo>
                      <a:lnTo>
                        <a:pt x="863" y="930"/>
                      </a:lnTo>
                      <a:lnTo>
                        <a:pt x="875" y="949"/>
                      </a:lnTo>
                      <a:lnTo>
                        <a:pt x="890" y="967"/>
                      </a:lnTo>
                      <a:lnTo>
                        <a:pt x="905" y="985"/>
                      </a:lnTo>
                      <a:lnTo>
                        <a:pt x="922" y="1000"/>
                      </a:lnTo>
                      <a:lnTo>
                        <a:pt x="940" y="1012"/>
                      </a:lnTo>
                      <a:lnTo>
                        <a:pt x="959" y="1023"/>
                      </a:lnTo>
                      <a:lnTo>
                        <a:pt x="979" y="1029"/>
                      </a:lnTo>
                      <a:lnTo>
                        <a:pt x="1000" y="1033"/>
                      </a:lnTo>
                      <a:lnTo>
                        <a:pt x="1023" y="1030"/>
                      </a:lnTo>
                      <a:lnTo>
                        <a:pt x="1040" y="1025"/>
                      </a:lnTo>
                      <a:lnTo>
                        <a:pt x="1054" y="1018"/>
                      </a:lnTo>
                      <a:lnTo>
                        <a:pt x="1066" y="1009"/>
                      </a:lnTo>
                      <a:lnTo>
                        <a:pt x="1077" y="997"/>
                      </a:lnTo>
                      <a:lnTo>
                        <a:pt x="1084" y="984"/>
                      </a:lnTo>
                      <a:lnTo>
                        <a:pt x="1091" y="969"/>
                      </a:lnTo>
                      <a:lnTo>
                        <a:pt x="1097" y="954"/>
                      </a:lnTo>
                      <a:lnTo>
                        <a:pt x="1100" y="938"/>
                      </a:lnTo>
                      <a:lnTo>
                        <a:pt x="1136" y="650"/>
                      </a:lnTo>
                      <a:lnTo>
                        <a:pt x="1139" y="629"/>
                      </a:lnTo>
                      <a:lnTo>
                        <a:pt x="1142" y="606"/>
                      </a:lnTo>
                      <a:lnTo>
                        <a:pt x="1146" y="585"/>
                      </a:lnTo>
                      <a:lnTo>
                        <a:pt x="1150" y="563"/>
                      </a:lnTo>
                      <a:lnTo>
                        <a:pt x="1155" y="542"/>
                      </a:lnTo>
                      <a:lnTo>
                        <a:pt x="1160" y="522"/>
                      </a:lnTo>
                      <a:lnTo>
                        <a:pt x="1167" y="501"/>
                      </a:lnTo>
                      <a:lnTo>
                        <a:pt x="1174" y="481"/>
                      </a:lnTo>
                      <a:lnTo>
                        <a:pt x="1183" y="457"/>
                      </a:lnTo>
                      <a:lnTo>
                        <a:pt x="1193" y="433"/>
                      </a:lnTo>
                      <a:lnTo>
                        <a:pt x="1205" y="411"/>
                      </a:lnTo>
                      <a:lnTo>
                        <a:pt x="1220" y="388"/>
                      </a:lnTo>
                      <a:lnTo>
                        <a:pt x="1235" y="367"/>
                      </a:lnTo>
                      <a:lnTo>
                        <a:pt x="1251" y="345"/>
                      </a:lnTo>
                      <a:lnTo>
                        <a:pt x="1268" y="326"/>
                      </a:lnTo>
                      <a:lnTo>
                        <a:pt x="1288" y="307"/>
                      </a:lnTo>
                      <a:lnTo>
                        <a:pt x="1308" y="291"/>
                      </a:lnTo>
                      <a:lnTo>
                        <a:pt x="1328" y="274"/>
                      </a:lnTo>
                      <a:lnTo>
                        <a:pt x="1351" y="260"/>
                      </a:lnTo>
                      <a:lnTo>
                        <a:pt x="1373" y="248"/>
                      </a:lnTo>
                      <a:lnTo>
                        <a:pt x="1397" y="237"/>
                      </a:lnTo>
                      <a:lnTo>
                        <a:pt x="1421" y="227"/>
                      </a:lnTo>
                      <a:lnTo>
                        <a:pt x="1446" y="221"/>
                      </a:lnTo>
                      <a:lnTo>
                        <a:pt x="1472" y="217"/>
                      </a:lnTo>
                      <a:lnTo>
                        <a:pt x="1486" y="233"/>
                      </a:lnTo>
                      <a:lnTo>
                        <a:pt x="1500" y="248"/>
                      </a:lnTo>
                      <a:lnTo>
                        <a:pt x="1513" y="262"/>
                      </a:lnTo>
                      <a:lnTo>
                        <a:pt x="1527" y="274"/>
                      </a:lnTo>
                      <a:lnTo>
                        <a:pt x="1544" y="285"/>
                      </a:lnTo>
                      <a:lnTo>
                        <a:pt x="1563" y="294"/>
                      </a:lnTo>
                      <a:lnTo>
                        <a:pt x="1587" y="304"/>
                      </a:lnTo>
                      <a:lnTo>
                        <a:pt x="1615" y="312"/>
                      </a:lnTo>
                      <a:lnTo>
                        <a:pt x="1632" y="316"/>
                      </a:lnTo>
                      <a:lnTo>
                        <a:pt x="1647" y="317"/>
                      </a:lnTo>
                      <a:lnTo>
                        <a:pt x="1664" y="318"/>
                      </a:lnTo>
                      <a:lnTo>
                        <a:pt x="1679" y="318"/>
                      </a:lnTo>
                      <a:lnTo>
                        <a:pt x="1695" y="316"/>
                      </a:lnTo>
                      <a:lnTo>
                        <a:pt x="1709" y="313"/>
                      </a:lnTo>
                      <a:lnTo>
                        <a:pt x="1725" y="310"/>
                      </a:lnTo>
                      <a:lnTo>
                        <a:pt x="1739" y="304"/>
                      </a:lnTo>
                      <a:lnTo>
                        <a:pt x="1753" y="299"/>
                      </a:lnTo>
                      <a:lnTo>
                        <a:pt x="1766" y="292"/>
                      </a:lnTo>
                      <a:lnTo>
                        <a:pt x="1781" y="285"/>
                      </a:lnTo>
                      <a:lnTo>
                        <a:pt x="1794" y="276"/>
                      </a:lnTo>
                      <a:lnTo>
                        <a:pt x="1806" y="267"/>
                      </a:lnTo>
                      <a:lnTo>
                        <a:pt x="1819" y="257"/>
                      </a:lnTo>
                      <a:lnTo>
                        <a:pt x="1831" y="246"/>
                      </a:lnTo>
                      <a:lnTo>
                        <a:pt x="1843" y="236"/>
                      </a:lnTo>
                      <a:lnTo>
                        <a:pt x="1881" y="257"/>
                      </a:lnTo>
                      <a:lnTo>
                        <a:pt x="1914" y="283"/>
                      </a:lnTo>
                      <a:lnTo>
                        <a:pt x="1943" y="314"/>
                      </a:lnTo>
                      <a:lnTo>
                        <a:pt x="1968" y="350"/>
                      </a:lnTo>
                      <a:lnTo>
                        <a:pt x="1987" y="388"/>
                      </a:lnTo>
                      <a:lnTo>
                        <a:pt x="2002" y="430"/>
                      </a:lnTo>
                      <a:lnTo>
                        <a:pt x="2011" y="472"/>
                      </a:lnTo>
                      <a:lnTo>
                        <a:pt x="2014" y="516"/>
                      </a:lnTo>
                      <a:lnTo>
                        <a:pt x="2017" y="545"/>
                      </a:lnTo>
                      <a:lnTo>
                        <a:pt x="2020" y="579"/>
                      </a:lnTo>
                      <a:lnTo>
                        <a:pt x="2024" y="604"/>
                      </a:lnTo>
                      <a:lnTo>
                        <a:pt x="2027" y="611"/>
                      </a:lnTo>
                      <a:lnTo>
                        <a:pt x="2040" y="557"/>
                      </a:lnTo>
                      <a:lnTo>
                        <a:pt x="2045" y="501"/>
                      </a:lnTo>
                      <a:lnTo>
                        <a:pt x="2044" y="444"/>
                      </a:lnTo>
                      <a:lnTo>
                        <a:pt x="2035" y="391"/>
                      </a:lnTo>
                      <a:lnTo>
                        <a:pt x="2030" y="373"/>
                      </a:lnTo>
                      <a:lnTo>
                        <a:pt x="2024" y="355"/>
                      </a:lnTo>
                      <a:lnTo>
                        <a:pt x="2017" y="337"/>
                      </a:lnTo>
                      <a:lnTo>
                        <a:pt x="2007" y="320"/>
                      </a:lnTo>
                      <a:lnTo>
                        <a:pt x="1998" y="305"/>
                      </a:lnTo>
                      <a:lnTo>
                        <a:pt x="1987" y="289"/>
                      </a:lnTo>
                      <a:lnTo>
                        <a:pt x="1975" y="274"/>
                      </a:lnTo>
                      <a:lnTo>
                        <a:pt x="1962" y="260"/>
                      </a:lnTo>
                      <a:lnTo>
                        <a:pt x="1949" y="246"/>
                      </a:lnTo>
                      <a:lnTo>
                        <a:pt x="1934" y="233"/>
                      </a:lnTo>
                      <a:lnTo>
                        <a:pt x="1920" y="220"/>
                      </a:lnTo>
                      <a:lnTo>
                        <a:pt x="1905" y="208"/>
                      </a:lnTo>
                      <a:lnTo>
                        <a:pt x="1889" y="196"/>
                      </a:lnTo>
                      <a:lnTo>
                        <a:pt x="1873" y="186"/>
                      </a:lnTo>
                      <a:lnTo>
                        <a:pt x="1857" y="176"/>
                      </a:lnTo>
                      <a:lnTo>
                        <a:pt x="1840" y="167"/>
                      </a:lnTo>
                      <a:lnTo>
                        <a:pt x="1837" y="168"/>
                      </a:lnTo>
                      <a:lnTo>
                        <a:pt x="1834" y="169"/>
                      </a:lnTo>
                      <a:lnTo>
                        <a:pt x="1832" y="170"/>
                      </a:lnTo>
                      <a:lnTo>
                        <a:pt x="1830" y="173"/>
                      </a:lnTo>
                      <a:lnTo>
                        <a:pt x="1826" y="176"/>
                      </a:lnTo>
                      <a:lnTo>
                        <a:pt x="1821" y="182"/>
                      </a:lnTo>
                      <a:lnTo>
                        <a:pt x="1813" y="190"/>
                      </a:lnTo>
                      <a:lnTo>
                        <a:pt x="1803" y="201"/>
                      </a:lnTo>
                      <a:lnTo>
                        <a:pt x="1789" y="214"/>
                      </a:lnTo>
                      <a:lnTo>
                        <a:pt x="1776" y="225"/>
                      </a:lnTo>
                      <a:lnTo>
                        <a:pt x="1764" y="235"/>
                      </a:lnTo>
                      <a:lnTo>
                        <a:pt x="1752" y="243"/>
                      </a:lnTo>
                      <a:lnTo>
                        <a:pt x="1741" y="249"/>
                      </a:lnTo>
                      <a:lnTo>
                        <a:pt x="1731" y="255"/>
                      </a:lnTo>
                      <a:lnTo>
                        <a:pt x="1721" y="258"/>
                      </a:lnTo>
                      <a:lnTo>
                        <a:pt x="1710" y="262"/>
                      </a:lnTo>
                      <a:lnTo>
                        <a:pt x="1700" y="263"/>
                      </a:lnTo>
                      <a:lnTo>
                        <a:pt x="1689" y="264"/>
                      </a:lnTo>
                      <a:lnTo>
                        <a:pt x="1678" y="265"/>
                      </a:lnTo>
                      <a:lnTo>
                        <a:pt x="1666" y="265"/>
                      </a:lnTo>
                      <a:lnTo>
                        <a:pt x="1653" y="264"/>
                      </a:lnTo>
                      <a:lnTo>
                        <a:pt x="1639" y="264"/>
                      </a:lnTo>
                      <a:lnTo>
                        <a:pt x="1623" y="263"/>
                      </a:lnTo>
                      <a:lnTo>
                        <a:pt x="1607" y="262"/>
                      </a:lnTo>
                      <a:lnTo>
                        <a:pt x="1596" y="257"/>
                      </a:lnTo>
                      <a:lnTo>
                        <a:pt x="1584" y="254"/>
                      </a:lnTo>
                      <a:lnTo>
                        <a:pt x="1573" y="249"/>
                      </a:lnTo>
                      <a:lnTo>
                        <a:pt x="1562" y="244"/>
                      </a:lnTo>
                      <a:lnTo>
                        <a:pt x="1551" y="239"/>
                      </a:lnTo>
                      <a:lnTo>
                        <a:pt x="1540" y="232"/>
                      </a:lnTo>
                      <a:lnTo>
                        <a:pt x="1532" y="224"/>
                      </a:lnTo>
                      <a:lnTo>
                        <a:pt x="1523" y="214"/>
                      </a:lnTo>
                      <a:lnTo>
                        <a:pt x="1527" y="211"/>
                      </a:lnTo>
                      <a:lnTo>
                        <a:pt x="1531" y="206"/>
                      </a:lnTo>
                      <a:lnTo>
                        <a:pt x="1533" y="201"/>
                      </a:lnTo>
                      <a:lnTo>
                        <a:pt x="1537" y="196"/>
                      </a:lnTo>
                      <a:lnTo>
                        <a:pt x="1545" y="171"/>
                      </a:lnTo>
                      <a:lnTo>
                        <a:pt x="1548" y="145"/>
                      </a:lnTo>
                      <a:lnTo>
                        <a:pt x="1548" y="119"/>
                      </a:lnTo>
                      <a:lnTo>
                        <a:pt x="1546" y="94"/>
                      </a:lnTo>
                      <a:lnTo>
                        <a:pt x="1540" y="68"/>
                      </a:lnTo>
                      <a:lnTo>
                        <a:pt x="1531" y="44"/>
                      </a:lnTo>
                      <a:lnTo>
                        <a:pt x="1519" y="21"/>
                      </a:lnTo>
                      <a:lnTo>
                        <a:pt x="1504" y="0"/>
                      </a:lnTo>
                      <a:lnTo>
                        <a:pt x="1503" y="6"/>
                      </a:lnTo>
                      <a:lnTo>
                        <a:pt x="1504" y="25"/>
                      </a:lnTo>
                      <a:lnTo>
                        <a:pt x="1507" y="51"/>
                      </a:lnTo>
                      <a:lnTo>
                        <a:pt x="1508" y="82"/>
                      </a:lnTo>
                      <a:lnTo>
                        <a:pt x="1506" y="115"/>
                      </a:lnTo>
                      <a:lnTo>
                        <a:pt x="1500" y="145"/>
                      </a:lnTo>
                      <a:lnTo>
                        <a:pt x="1486" y="169"/>
                      </a:lnTo>
                      <a:lnTo>
                        <a:pt x="1465" y="183"/>
                      </a:lnTo>
                      <a:lnTo>
                        <a:pt x="1441" y="183"/>
                      </a:lnTo>
                      <a:lnTo>
                        <a:pt x="1417" y="186"/>
                      </a:lnTo>
                      <a:lnTo>
                        <a:pt x="1395" y="190"/>
                      </a:lnTo>
                      <a:lnTo>
                        <a:pt x="1372" y="196"/>
                      </a:lnTo>
                      <a:lnTo>
                        <a:pt x="1351" y="204"/>
                      </a:lnTo>
                      <a:lnTo>
                        <a:pt x="1329" y="213"/>
                      </a:lnTo>
                      <a:lnTo>
                        <a:pt x="1309" y="223"/>
                      </a:lnTo>
                      <a:lnTo>
                        <a:pt x="1289" y="235"/>
                      </a:lnTo>
                      <a:lnTo>
                        <a:pt x="1270" y="248"/>
                      </a:lnTo>
                      <a:lnTo>
                        <a:pt x="1251" y="262"/>
                      </a:lnTo>
                      <a:lnTo>
                        <a:pt x="1234" y="277"/>
                      </a:lnTo>
                      <a:lnTo>
                        <a:pt x="1217" y="294"/>
                      </a:lnTo>
                      <a:lnTo>
                        <a:pt x="1202" y="311"/>
                      </a:lnTo>
                      <a:lnTo>
                        <a:pt x="1187" y="330"/>
                      </a:lnTo>
                      <a:lnTo>
                        <a:pt x="1173" y="349"/>
                      </a:lnTo>
                      <a:lnTo>
                        <a:pt x="1161" y="368"/>
                      </a:lnTo>
                      <a:lnTo>
                        <a:pt x="1152" y="386"/>
                      </a:lnTo>
                      <a:lnTo>
                        <a:pt x="1143" y="405"/>
                      </a:lnTo>
                      <a:lnTo>
                        <a:pt x="1137" y="424"/>
                      </a:lnTo>
                      <a:lnTo>
                        <a:pt x="1133" y="443"/>
                      </a:lnTo>
                      <a:lnTo>
                        <a:pt x="1128" y="462"/>
                      </a:lnTo>
                      <a:lnTo>
                        <a:pt x="1123" y="482"/>
                      </a:lnTo>
                      <a:lnTo>
                        <a:pt x="1118" y="501"/>
                      </a:lnTo>
                      <a:lnTo>
                        <a:pt x="1114" y="520"/>
                      </a:lnTo>
                      <a:lnTo>
                        <a:pt x="1104" y="516"/>
                      </a:lnTo>
                      <a:lnTo>
                        <a:pt x="1091" y="511"/>
                      </a:lnTo>
                      <a:lnTo>
                        <a:pt x="1074" y="506"/>
                      </a:lnTo>
                      <a:lnTo>
                        <a:pt x="1058" y="500"/>
                      </a:lnTo>
                      <a:lnTo>
                        <a:pt x="1041" y="493"/>
                      </a:lnTo>
                      <a:lnTo>
                        <a:pt x="1025" y="486"/>
                      </a:lnTo>
                      <a:lnTo>
                        <a:pt x="1015" y="479"/>
                      </a:lnTo>
                      <a:lnTo>
                        <a:pt x="1010" y="470"/>
                      </a:lnTo>
                      <a:lnTo>
                        <a:pt x="988" y="474"/>
                      </a:lnTo>
                      <a:lnTo>
                        <a:pt x="955" y="480"/>
                      </a:lnTo>
                      <a:lnTo>
                        <a:pt x="912" y="486"/>
                      </a:lnTo>
                      <a:lnTo>
                        <a:pt x="861" y="495"/>
                      </a:lnTo>
                      <a:lnTo>
                        <a:pt x="804" y="505"/>
                      </a:lnTo>
                      <a:lnTo>
                        <a:pt x="742" y="514"/>
                      </a:lnTo>
                      <a:lnTo>
                        <a:pt x="677" y="525"/>
                      </a:lnTo>
                      <a:lnTo>
                        <a:pt x="612" y="536"/>
                      </a:lnTo>
                      <a:lnTo>
                        <a:pt x="548" y="547"/>
                      </a:lnTo>
                      <a:lnTo>
                        <a:pt x="487" y="557"/>
                      </a:lnTo>
                      <a:lnTo>
                        <a:pt x="430" y="567"/>
                      </a:lnTo>
                      <a:lnTo>
                        <a:pt x="378" y="575"/>
                      </a:lnTo>
                      <a:lnTo>
                        <a:pt x="336" y="582"/>
                      </a:lnTo>
                      <a:lnTo>
                        <a:pt x="303" y="587"/>
                      </a:lnTo>
                      <a:lnTo>
                        <a:pt x="282" y="591"/>
                      </a:lnTo>
                      <a:lnTo>
                        <a:pt x="275" y="592"/>
                      </a:lnTo>
                      <a:lnTo>
                        <a:pt x="258" y="587"/>
                      </a:lnTo>
                      <a:lnTo>
                        <a:pt x="241" y="581"/>
                      </a:lnTo>
                      <a:lnTo>
                        <a:pt x="226" y="576"/>
                      </a:lnTo>
                      <a:lnTo>
                        <a:pt x="209" y="570"/>
                      </a:lnTo>
                      <a:lnTo>
                        <a:pt x="193" y="564"/>
                      </a:lnTo>
                      <a:lnTo>
                        <a:pt x="176" y="558"/>
                      </a:lnTo>
                      <a:lnTo>
                        <a:pt x="160" y="554"/>
                      </a:lnTo>
                      <a:lnTo>
                        <a:pt x="144" y="548"/>
                      </a:lnTo>
                      <a:lnTo>
                        <a:pt x="127" y="542"/>
                      </a:lnTo>
                      <a:lnTo>
                        <a:pt x="110" y="537"/>
                      </a:lnTo>
                      <a:lnTo>
                        <a:pt x="95" y="531"/>
                      </a:lnTo>
                      <a:lnTo>
                        <a:pt x="78" y="526"/>
                      </a:lnTo>
                      <a:lnTo>
                        <a:pt x="62" y="522"/>
                      </a:lnTo>
                      <a:lnTo>
                        <a:pt x="45" y="517"/>
                      </a:lnTo>
                      <a:lnTo>
                        <a:pt x="28" y="512"/>
                      </a:lnTo>
                      <a:lnTo>
                        <a:pt x="11" y="507"/>
                      </a:lnTo>
                      <a:lnTo>
                        <a:pt x="0" y="519"/>
                      </a:lnTo>
                      <a:lnTo>
                        <a:pt x="3" y="522"/>
                      </a:lnTo>
                      <a:lnTo>
                        <a:pt x="10" y="525"/>
                      </a:lnTo>
                      <a:lnTo>
                        <a:pt x="22" y="530"/>
                      </a:lnTo>
                      <a:lnTo>
                        <a:pt x="36" y="536"/>
                      </a:lnTo>
                      <a:lnTo>
                        <a:pt x="54" y="542"/>
                      </a:lnTo>
                      <a:lnTo>
                        <a:pt x="73" y="549"/>
                      </a:lnTo>
                      <a:lnTo>
                        <a:pt x="94" y="557"/>
                      </a:lnTo>
                      <a:lnTo>
                        <a:pt x="114" y="564"/>
                      </a:lnTo>
                      <a:lnTo>
                        <a:pt x="134" y="573"/>
                      </a:lnTo>
                      <a:lnTo>
                        <a:pt x="154" y="580"/>
                      </a:lnTo>
                      <a:lnTo>
                        <a:pt x="173" y="587"/>
                      </a:lnTo>
                      <a:lnTo>
                        <a:pt x="190" y="593"/>
                      </a:lnTo>
                      <a:lnTo>
                        <a:pt x="204" y="599"/>
                      </a:lnTo>
                      <a:lnTo>
                        <a:pt x="215" y="603"/>
                      </a:lnTo>
                      <a:lnTo>
                        <a:pt x="222" y="605"/>
                      </a:lnTo>
                      <a:lnTo>
                        <a:pt x="225" y="606"/>
                      </a:lnTo>
                      <a:lnTo>
                        <a:pt x="224" y="606"/>
                      </a:lnTo>
                      <a:lnTo>
                        <a:pt x="220" y="607"/>
                      </a:lnTo>
                      <a:lnTo>
                        <a:pt x="215" y="610"/>
                      </a:lnTo>
                      <a:lnTo>
                        <a:pt x="209" y="612"/>
                      </a:lnTo>
                      <a:lnTo>
                        <a:pt x="202" y="614"/>
                      </a:lnTo>
                      <a:lnTo>
                        <a:pt x="196" y="618"/>
                      </a:lnTo>
                      <a:lnTo>
                        <a:pt x="190" y="620"/>
                      </a:lnTo>
                      <a:lnTo>
                        <a:pt x="185" y="624"/>
                      </a:lnTo>
                      <a:lnTo>
                        <a:pt x="508" y="766"/>
                      </a:lnTo>
                      <a:lnTo>
                        <a:pt x="514" y="768"/>
                      </a:lnTo>
                      <a:lnTo>
                        <a:pt x="520" y="769"/>
                      </a:lnTo>
                      <a:lnTo>
                        <a:pt x="526" y="769"/>
                      </a:lnTo>
                      <a:lnTo>
                        <a:pt x="532" y="765"/>
                      </a:lnTo>
                      <a:lnTo>
                        <a:pt x="255" y="632"/>
                      </a:lnTo>
                      <a:lnTo>
                        <a:pt x="274" y="628"/>
                      </a:lnTo>
                      <a:lnTo>
                        <a:pt x="306" y="622"/>
                      </a:lnTo>
                      <a:lnTo>
                        <a:pt x="347" y="612"/>
                      </a:lnTo>
                      <a:lnTo>
                        <a:pt x="399" y="603"/>
                      </a:lnTo>
                      <a:lnTo>
                        <a:pt x="457" y="592"/>
                      </a:lnTo>
                      <a:lnTo>
                        <a:pt x="520" y="580"/>
                      </a:lnTo>
                      <a:lnTo>
                        <a:pt x="587" y="567"/>
                      </a:lnTo>
                      <a:lnTo>
                        <a:pt x="654" y="555"/>
                      </a:lnTo>
                      <a:lnTo>
                        <a:pt x="720" y="543"/>
                      </a:lnTo>
                      <a:lnTo>
                        <a:pt x="784" y="531"/>
                      </a:lnTo>
                      <a:lnTo>
                        <a:pt x="843" y="520"/>
                      </a:lnTo>
                      <a:lnTo>
                        <a:pt x="896" y="510"/>
                      </a:lnTo>
                      <a:lnTo>
                        <a:pt x="941" y="503"/>
                      </a:lnTo>
                      <a:lnTo>
                        <a:pt x="974" y="495"/>
                      </a:lnTo>
                      <a:lnTo>
                        <a:pt x="997" y="492"/>
                      </a:lnTo>
                      <a:lnTo>
                        <a:pt x="1004" y="491"/>
                      </a:lnTo>
                      <a:lnTo>
                        <a:pt x="1017" y="498"/>
                      </a:lnTo>
                      <a:lnTo>
                        <a:pt x="1030" y="505"/>
                      </a:lnTo>
                      <a:lnTo>
                        <a:pt x="1044" y="512"/>
                      </a:lnTo>
                      <a:lnTo>
                        <a:pt x="1059" y="520"/>
                      </a:lnTo>
                      <a:lnTo>
                        <a:pt x="1072" y="529"/>
                      </a:lnTo>
                      <a:lnTo>
                        <a:pt x="1085" y="537"/>
                      </a:lnTo>
                      <a:lnTo>
                        <a:pt x="1098" y="545"/>
                      </a:lnTo>
                      <a:lnTo>
                        <a:pt x="1110" y="555"/>
                      </a:lnTo>
                      <a:lnTo>
                        <a:pt x="1109" y="586"/>
                      </a:lnTo>
                      <a:lnTo>
                        <a:pt x="1104" y="614"/>
                      </a:lnTo>
                      <a:lnTo>
                        <a:pt x="1098" y="644"/>
                      </a:lnTo>
                      <a:lnTo>
                        <a:pt x="1091" y="672"/>
                      </a:lnTo>
                      <a:lnTo>
                        <a:pt x="1083" y="662"/>
                      </a:lnTo>
                      <a:lnTo>
                        <a:pt x="1074" y="653"/>
                      </a:lnTo>
                      <a:lnTo>
                        <a:pt x="1066" y="643"/>
                      </a:lnTo>
                      <a:lnTo>
                        <a:pt x="1058" y="635"/>
                      </a:lnTo>
                      <a:lnTo>
                        <a:pt x="1049" y="626"/>
                      </a:lnTo>
                      <a:lnTo>
                        <a:pt x="1041" y="618"/>
                      </a:lnTo>
                      <a:lnTo>
                        <a:pt x="1031" y="610"/>
                      </a:lnTo>
                      <a:lnTo>
                        <a:pt x="1021" y="603"/>
                      </a:lnTo>
                      <a:lnTo>
                        <a:pt x="1029" y="603"/>
                      </a:lnTo>
                      <a:lnTo>
                        <a:pt x="1037" y="605"/>
                      </a:lnTo>
                      <a:lnTo>
                        <a:pt x="1046" y="611"/>
                      </a:lnTo>
                      <a:lnTo>
                        <a:pt x="1053" y="617"/>
                      </a:lnTo>
                      <a:lnTo>
                        <a:pt x="1061" y="623"/>
                      </a:lnTo>
                      <a:lnTo>
                        <a:pt x="1069" y="625"/>
                      </a:lnTo>
                      <a:lnTo>
                        <a:pt x="1078" y="625"/>
                      </a:lnTo>
                      <a:lnTo>
                        <a:pt x="1087" y="620"/>
                      </a:lnTo>
                      <a:lnTo>
                        <a:pt x="1079" y="606"/>
                      </a:lnTo>
                      <a:lnTo>
                        <a:pt x="1068" y="593"/>
                      </a:lnTo>
                      <a:lnTo>
                        <a:pt x="1058" y="581"/>
                      </a:lnTo>
                      <a:lnTo>
                        <a:pt x="1044" y="569"/>
                      </a:lnTo>
                      <a:lnTo>
                        <a:pt x="1031" y="558"/>
                      </a:lnTo>
                      <a:lnTo>
                        <a:pt x="1017" y="549"/>
                      </a:lnTo>
                      <a:lnTo>
                        <a:pt x="1003" y="541"/>
                      </a:lnTo>
                      <a:lnTo>
                        <a:pt x="988" y="533"/>
                      </a:lnTo>
                      <a:lnTo>
                        <a:pt x="998" y="535"/>
                      </a:lnTo>
                      <a:lnTo>
                        <a:pt x="1008" y="536"/>
                      </a:lnTo>
                      <a:lnTo>
                        <a:pt x="1017" y="538"/>
                      </a:lnTo>
                      <a:lnTo>
                        <a:pt x="1027" y="541"/>
                      </a:lnTo>
                      <a:lnTo>
                        <a:pt x="1036" y="543"/>
                      </a:lnTo>
                      <a:lnTo>
                        <a:pt x="1046" y="547"/>
                      </a:lnTo>
                      <a:lnTo>
                        <a:pt x="1054" y="550"/>
                      </a:lnTo>
                      <a:lnTo>
                        <a:pt x="1062" y="555"/>
                      </a:lnTo>
                      <a:lnTo>
                        <a:pt x="1067" y="556"/>
                      </a:lnTo>
                      <a:lnTo>
                        <a:pt x="1072" y="560"/>
                      </a:lnTo>
                      <a:lnTo>
                        <a:pt x="1077" y="564"/>
                      </a:lnTo>
                      <a:lnTo>
                        <a:pt x="1080" y="568"/>
                      </a:lnTo>
                      <a:lnTo>
                        <a:pt x="1085" y="573"/>
                      </a:lnTo>
                      <a:lnTo>
                        <a:pt x="1090" y="574"/>
                      </a:lnTo>
                      <a:lnTo>
                        <a:pt x="1094" y="573"/>
                      </a:lnTo>
                      <a:lnTo>
                        <a:pt x="1100" y="568"/>
                      </a:lnTo>
                      <a:lnTo>
                        <a:pt x="1092" y="557"/>
                      </a:lnTo>
                      <a:lnTo>
                        <a:pt x="1083" y="549"/>
                      </a:lnTo>
                      <a:lnTo>
                        <a:pt x="1072" y="542"/>
                      </a:lnTo>
                      <a:lnTo>
                        <a:pt x="1061" y="536"/>
                      </a:lnTo>
                      <a:lnTo>
                        <a:pt x="1049" y="531"/>
                      </a:lnTo>
                      <a:lnTo>
                        <a:pt x="1037" y="528"/>
                      </a:lnTo>
                      <a:lnTo>
                        <a:pt x="1024" y="523"/>
                      </a:lnTo>
                      <a:lnTo>
                        <a:pt x="1012" y="519"/>
                      </a:lnTo>
                      <a:lnTo>
                        <a:pt x="1005" y="517"/>
                      </a:lnTo>
                      <a:lnTo>
                        <a:pt x="997" y="516"/>
                      </a:lnTo>
                      <a:lnTo>
                        <a:pt x="990" y="516"/>
                      </a:lnTo>
                      <a:lnTo>
                        <a:pt x="984" y="520"/>
                      </a:lnTo>
                      <a:lnTo>
                        <a:pt x="984" y="524"/>
                      </a:lnTo>
                      <a:lnTo>
                        <a:pt x="985" y="528"/>
                      </a:lnTo>
                      <a:lnTo>
                        <a:pt x="986" y="530"/>
                      </a:lnTo>
                      <a:lnTo>
                        <a:pt x="988" y="532"/>
                      </a:lnTo>
                      <a:lnTo>
                        <a:pt x="980" y="535"/>
                      </a:lnTo>
                      <a:lnTo>
                        <a:pt x="971" y="536"/>
                      </a:lnTo>
                      <a:lnTo>
                        <a:pt x="963" y="538"/>
                      </a:lnTo>
                      <a:lnTo>
                        <a:pt x="962" y="548"/>
                      </a:lnTo>
                      <a:lnTo>
                        <a:pt x="972" y="551"/>
                      </a:lnTo>
                      <a:lnTo>
                        <a:pt x="981" y="555"/>
                      </a:lnTo>
                      <a:lnTo>
                        <a:pt x="991" y="558"/>
                      </a:lnTo>
                      <a:lnTo>
                        <a:pt x="1002" y="561"/>
                      </a:lnTo>
                      <a:lnTo>
                        <a:pt x="1010" y="564"/>
                      </a:lnTo>
                      <a:lnTo>
                        <a:pt x="1019" y="569"/>
                      </a:lnTo>
                      <a:lnTo>
                        <a:pt x="1028" y="575"/>
                      </a:lnTo>
                      <a:lnTo>
                        <a:pt x="1036" y="581"/>
                      </a:lnTo>
                      <a:lnTo>
                        <a:pt x="1029" y="582"/>
                      </a:lnTo>
                      <a:lnTo>
                        <a:pt x="1021" y="582"/>
                      </a:lnTo>
                      <a:lnTo>
                        <a:pt x="1013" y="581"/>
                      </a:lnTo>
                      <a:lnTo>
                        <a:pt x="1005" y="579"/>
                      </a:lnTo>
                      <a:lnTo>
                        <a:pt x="997" y="576"/>
                      </a:lnTo>
                      <a:lnTo>
                        <a:pt x="988" y="575"/>
                      </a:lnTo>
                      <a:lnTo>
                        <a:pt x="981" y="578"/>
                      </a:lnTo>
                      <a:lnTo>
                        <a:pt x="973" y="581"/>
                      </a:lnTo>
                      <a:lnTo>
                        <a:pt x="977" y="594"/>
                      </a:lnTo>
                      <a:lnTo>
                        <a:pt x="984" y="605"/>
                      </a:lnTo>
                      <a:lnTo>
                        <a:pt x="992" y="613"/>
                      </a:lnTo>
                      <a:lnTo>
                        <a:pt x="1003" y="622"/>
                      </a:lnTo>
                      <a:lnTo>
                        <a:pt x="1012" y="630"/>
                      </a:lnTo>
                      <a:lnTo>
                        <a:pt x="1023" y="639"/>
                      </a:lnTo>
                      <a:lnTo>
                        <a:pt x="1031" y="651"/>
                      </a:lnTo>
                      <a:lnTo>
                        <a:pt x="1038" y="664"/>
                      </a:lnTo>
                      <a:lnTo>
                        <a:pt x="1019" y="668"/>
                      </a:lnTo>
                      <a:lnTo>
                        <a:pt x="999" y="673"/>
                      </a:lnTo>
                      <a:lnTo>
                        <a:pt x="980" y="679"/>
                      </a:lnTo>
                      <a:lnTo>
                        <a:pt x="961" y="685"/>
                      </a:lnTo>
                      <a:lnTo>
                        <a:pt x="942" y="691"/>
                      </a:lnTo>
                      <a:lnTo>
                        <a:pt x="923" y="695"/>
                      </a:lnTo>
                      <a:lnTo>
                        <a:pt x="903" y="699"/>
                      </a:lnTo>
                      <a:lnTo>
                        <a:pt x="884" y="700"/>
                      </a:lnTo>
                      <a:lnTo>
                        <a:pt x="887" y="674"/>
                      </a:lnTo>
                      <a:lnTo>
                        <a:pt x="890" y="645"/>
                      </a:lnTo>
                      <a:lnTo>
                        <a:pt x="887" y="618"/>
                      </a:lnTo>
                      <a:lnTo>
                        <a:pt x="884" y="592"/>
                      </a:lnTo>
                      <a:lnTo>
                        <a:pt x="878" y="583"/>
                      </a:lnTo>
                      <a:lnTo>
                        <a:pt x="873" y="574"/>
                      </a:lnTo>
                      <a:lnTo>
                        <a:pt x="867" y="566"/>
                      </a:lnTo>
                      <a:lnTo>
                        <a:pt x="857" y="563"/>
                      </a:lnTo>
                      <a:lnTo>
                        <a:pt x="848" y="580"/>
                      </a:lnTo>
                      <a:lnTo>
                        <a:pt x="842" y="598"/>
                      </a:lnTo>
                      <a:lnTo>
                        <a:pt x="836" y="616"/>
                      </a:lnTo>
                      <a:lnTo>
                        <a:pt x="825" y="632"/>
                      </a:lnTo>
                      <a:lnTo>
                        <a:pt x="784" y="563"/>
                      </a:lnTo>
                      <a:lnTo>
                        <a:pt x="772" y="563"/>
                      </a:lnTo>
                      <a:lnTo>
                        <a:pt x="772" y="574"/>
                      </a:lnTo>
                      <a:lnTo>
                        <a:pt x="780" y="587"/>
                      </a:lnTo>
                      <a:lnTo>
                        <a:pt x="787" y="600"/>
                      </a:lnTo>
                      <a:lnTo>
                        <a:pt x="793" y="613"/>
                      </a:lnTo>
                      <a:lnTo>
                        <a:pt x="799" y="628"/>
                      </a:lnTo>
                      <a:lnTo>
                        <a:pt x="805" y="641"/>
                      </a:lnTo>
                      <a:lnTo>
                        <a:pt x="810" y="655"/>
                      </a:lnTo>
                      <a:lnTo>
                        <a:pt x="813" y="670"/>
                      </a:lnTo>
                      <a:lnTo>
                        <a:pt x="817" y="685"/>
                      </a:lnTo>
                      <a:lnTo>
                        <a:pt x="826" y="682"/>
                      </a:lnTo>
                      <a:lnTo>
                        <a:pt x="835" y="676"/>
                      </a:lnTo>
                      <a:lnTo>
                        <a:pt x="841" y="670"/>
                      </a:lnTo>
                      <a:lnTo>
                        <a:pt x="847" y="663"/>
                      </a:lnTo>
                      <a:lnTo>
                        <a:pt x="851" y="655"/>
                      </a:lnTo>
                      <a:lnTo>
                        <a:pt x="855" y="645"/>
                      </a:lnTo>
                      <a:lnTo>
                        <a:pt x="859" y="637"/>
                      </a:lnTo>
                      <a:lnTo>
                        <a:pt x="862" y="629"/>
                      </a:lnTo>
                      <a:lnTo>
                        <a:pt x="867" y="637"/>
                      </a:lnTo>
                      <a:lnTo>
                        <a:pt x="865" y="656"/>
                      </a:lnTo>
                      <a:lnTo>
                        <a:pt x="860" y="675"/>
                      </a:lnTo>
                      <a:lnTo>
                        <a:pt x="855" y="693"/>
                      </a:lnTo>
                      <a:lnTo>
                        <a:pt x="848" y="712"/>
                      </a:lnTo>
                      <a:lnTo>
                        <a:pt x="841" y="730"/>
                      </a:lnTo>
                      <a:lnTo>
                        <a:pt x="834" y="748"/>
                      </a:lnTo>
                      <a:lnTo>
                        <a:pt x="826" y="766"/>
                      </a:lnTo>
                      <a:lnTo>
                        <a:pt x="819" y="782"/>
                      </a:lnTo>
                      <a:lnTo>
                        <a:pt x="863" y="786"/>
                      </a:lnTo>
                      <a:lnTo>
                        <a:pt x="867" y="775"/>
                      </a:lnTo>
                      <a:lnTo>
                        <a:pt x="870" y="760"/>
                      </a:lnTo>
                      <a:lnTo>
                        <a:pt x="874" y="745"/>
                      </a:lnTo>
                      <a:lnTo>
                        <a:pt x="878" y="735"/>
                      </a:lnTo>
                      <a:lnTo>
                        <a:pt x="900" y="731"/>
                      </a:lnTo>
                      <a:lnTo>
                        <a:pt x="923" y="725"/>
                      </a:lnTo>
                      <a:lnTo>
                        <a:pt x="946" y="719"/>
                      </a:lnTo>
                      <a:lnTo>
                        <a:pt x="968" y="713"/>
                      </a:lnTo>
                      <a:lnTo>
                        <a:pt x="991" y="707"/>
                      </a:lnTo>
                      <a:lnTo>
                        <a:pt x="1012" y="701"/>
                      </a:lnTo>
                      <a:lnTo>
                        <a:pt x="1035" y="695"/>
                      </a:lnTo>
                      <a:lnTo>
                        <a:pt x="1058" y="691"/>
                      </a:lnTo>
                      <a:lnTo>
                        <a:pt x="1065" y="700"/>
                      </a:lnTo>
                      <a:lnTo>
                        <a:pt x="1072" y="710"/>
                      </a:lnTo>
                      <a:lnTo>
                        <a:pt x="1077" y="719"/>
                      </a:lnTo>
                      <a:lnTo>
                        <a:pt x="1081" y="730"/>
                      </a:lnTo>
                      <a:lnTo>
                        <a:pt x="973" y="765"/>
                      </a:lnTo>
                      <a:lnTo>
                        <a:pt x="981" y="795"/>
                      </a:lnTo>
                      <a:lnTo>
                        <a:pt x="984" y="794"/>
                      </a:lnTo>
                      <a:lnTo>
                        <a:pt x="992" y="792"/>
                      </a:lnTo>
                      <a:lnTo>
                        <a:pt x="1003" y="788"/>
                      </a:lnTo>
                      <a:lnTo>
                        <a:pt x="1017" y="784"/>
                      </a:lnTo>
                      <a:lnTo>
                        <a:pt x="1033" y="778"/>
                      </a:lnTo>
                      <a:lnTo>
                        <a:pt x="1048" y="772"/>
                      </a:lnTo>
                      <a:lnTo>
                        <a:pt x="1062" y="766"/>
                      </a:lnTo>
                      <a:lnTo>
                        <a:pt x="1075" y="761"/>
                      </a:lnTo>
                      <a:lnTo>
                        <a:pt x="1071" y="817"/>
                      </a:lnTo>
                      <a:lnTo>
                        <a:pt x="974" y="849"/>
                      </a:lnTo>
                      <a:lnTo>
                        <a:pt x="981" y="881"/>
                      </a:lnTo>
                      <a:close/>
                    </a:path>
                  </a:pathLst>
                </a:custGeom>
                <a:solidFill>
                  <a:srgbClr val="000000"/>
                </a:solidFill>
                <a:ln w="9525">
                  <a:noFill/>
                  <a:round/>
                  <a:headEnd/>
                  <a:tailEnd/>
                </a:ln>
              </p:spPr>
              <p:txBody>
                <a:bodyPr/>
                <a:lstStyle/>
                <a:p>
                  <a:endParaRPr lang="ja-JP" altLang="en-US" sz="1600" b="1">
                    <a:latin typeface="Times New Roman" charset="0"/>
                    <a:cs typeface="Times New Roman" charset="0"/>
                  </a:endParaRPr>
                </a:p>
              </p:txBody>
            </p:sp>
            <p:sp>
              <p:nvSpPr>
                <p:cNvPr id="46150" name="Freeform 142"/>
                <p:cNvSpPr>
                  <a:spLocks/>
                </p:cNvSpPr>
                <p:nvPr/>
              </p:nvSpPr>
              <p:spPr bwMode="auto">
                <a:xfrm>
                  <a:off x="5077" y="3291"/>
                  <a:ext cx="88" cy="27"/>
                </a:xfrm>
                <a:custGeom>
                  <a:avLst/>
                  <a:gdLst>
                    <a:gd name="T0" fmla="*/ 0 w 529"/>
                    <a:gd name="T1" fmla="*/ 0 h 160"/>
                    <a:gd name="T2" fmla="*/ 0 w 529"/>
                    <a:gd name="T3" fmla="*/ 0 h 160"/>
                    <a:gd name="T4" fmla="*/ 0 w 529"/>
                    <a:gd name="T5" fmla="*/ 0 h 160"/>
                    <a:gd name="T6" fmla="*/ 0 w 529"/>
                    <a:gd name="T7" fmla="*/ 0 h 160"/>
                    <a:gd name="T8" fmla="*/ 0 w 529"/>
                    <a:gd name="T9" fmla="*/ 0 h 160"/>
                    <a:gd name="T10" fmla="*/ 0 w 529"/>
                    <a:gd name="T11" fmla="*/ 0 h 160"/>
                    <a:gd name="T12" fmla="*/ 0 w 529"/>
                    <a:gd name="T13" fmla="*/ 0 h 160"/>
                    <a:gd name="T14" fmla="*/ 0 w 529"/>
                    <a:gd name="T15" fmla="*/ 0 h 160"/>
                    <a:gd name="T16" fmla="*/ 0 w 529"/>
                    <a:gd name="T17" fmla="*/ 0 h 160"/>
                    <a:gd name="T18" fmla="*/ 0 w 529"/>
                    <a:gd name="T19" fmla="*/ 0 h 160"/>
                    <a:gd name="T20" fmla="*/ 0 w 529"/>
                    <a:gd name="T21" fmla="*/ 0 h 160"/>
                    <a:gd name="T22" fmla="*/ 0 w 529"/>
                    <a:gd name="T23" fmla="*/ 0 h 160"/>
                    <a:gd name="T24" fmla="*/ 0 w 529"/>
                    <a:gd name="T25" fmla="*/ 0 h 160"/>
                    <a:gd name="T26" fmla="*/ 0 w 529"/>
                    <a:gd name="T27" fmla="*/ 0 h 160"/>
                    <a:gd name="T28" fmla="*/ 0 w 529"/>
                    <a:gd name="T29" fmla="*/ 0 h 160"/>
                    <a:gd name="T30" fmla="*/ 0 w 529"/>
                    <a:gd name="T31" fmla="*/ 0 h 160"/>
                    <a:gd name="T32" fmla="*/ 0 w 529"/>
                    <a:gd name="T33" fmla="*/ 0 h 160"/>
                    <a:gd name="T34" fmla="*/ 0 w 529"/>
                    <a:gd name="T35" fmla="*/ 0 h 160"/>
                    <a:gd name="T36" fmla="*/ 0 w 529"/>
                    <a:gd name="T37" fmla="*/ 0 h 160"/>
                    <a:gd name="T38" fmla="*/ 0 w 529"/>
                    <a:gd name="T39" fmla="*/ 0 h 160"/>
                    <a:gd name="T40" fmla="*/ 0 w 529"/>
                    <a:gd name="T41" fmla="*/ 0 h 160"/>
                    <a:gd name="T42" fmla="*/ 0 w 529"/>
                    <a:gd name="T43" fmla="*/ 0 h 160"/>
                    <a:gd name="T44" fmla="*/ 0 w 529"/>
                    <a:gd name="T45" fmla="*/ 0 h 160"/>
                    <a:gd name="T46" fmla="*/ 0 w 529"/>
                    <a:gd name="T47" fmla="*/ 0 h 160"/>
                    <a:gd name="T48" fmla="*/ 0 w 529"/>
                    <a:gd name="T49" fmla="*/ 0 h 160"/>
                    <a:gd name="T50" fmla="*/ 0 w 529"/>
                    <a:gd name="T51" fmla="*/ 0 h 160"/>
                    <a:gd name="T52" fmla="*/ 0 w 529"/>
                    <a:gd name="T53" fmla="*/ 0 h 160"/>
                    <a:gd name="T54" fmla="*/ 0 w 529"/>
                    <a:gd name="T55" fmla="*/ 0 h 160"/>
                    <a:gd name="T56" fmla="*/ 0 w 529"/>
                    <a:gd name="T57" fmla="*/ 0 h 160"/>
                    <a:gd name="T58" fmla="*/ 0 w 529"/>
                    <a:gd name="T59" fmla="*/ 0 h 160"/>
                    <a:gd name="T60" fmla="*/ 0 w 529"/>
                    <a:gd name="T61" fmla="*/ 0 h 160"/>
                    <a:gd name="T62" fmla="*/ 0 w 529"/>
                    <a:gd name="T63" fmla="*/ 0 h 160"/>
                    <a:gd name="T64" fmla="*/ 0 w 529"/>
                    <a:gd name="T65" fmla="*/ 0 h 160"/>
                    <a:gd name="T66" fmla="*/ 0 w 529"/>
                    <a:gd name="T67" fmla="*/ 0 h 160"/>
                    <a:gd name="T68" fmla="*/ 0 w 529"/>
                    <a:gd name="T69" fmla="*/ 0 h 160"/>
                    <a:gd name="T70" fmla="*/ 0 w 529"/>
                    <a:gd name="T71" fmla="*/ 0 h 160"/>
                    <a:gd name="T72" fmla="*/ 0 w 529"/>
                    <a:gd name="T73" fmla="*/ 0 h 160"/>
                    <a:gd name="T74" fmla="*/ 0 w 529"/>
                    <a:gd name="T75" fmla="*/ 0 h 160"/>
                    <a:gd name="T76" fmla="*/ 0 w 529"/>
                    <a:gd name="T77" fmla="*/ 0 h 160"/>
                    <a:gd name="T78" fmla="*/ 0 w 529"/>
                    <a:gd name="T79" fmla="*/ 0 h 160"/>
                    <a:gd name="T80" fmla="*/ 0 w 529"/>
                    <a:gd name="T81" fmla="*/ 0 h 160"/>
                    <a:gd name="T82" fmla="*/ 0 w 529"/>
                    <a:gd name="T83" fmla="*/ 0 h 160"/>
                    <a:gd name="T84" fmla="*/ 0 w 529"/>
                    <a:gd name="T85" fmla="*/ 0 h 160"/>
                    <a:gd name="T86" fmla="*/ 0 w 529"/>
                    <a:gd name="T87" fmla="*/ 0 h 160"/>
                    <a:gd name="T88" fmla="*/ 0 w 529"/>
                    <a:gd name="T89" fmla="*/ 0 h 160"/>
                    <a:gd name="T90" fmla="*/ 0 w 529"/>
                    <a:gd name="T91" fmla="*/ 0 h 160"/>
                    <a:gd name="T92" fmla="*/ 0 w 529"/>
                    <a:gd name="T93" fmla="*/ 0 h 160"/>
                    <a:gd name="T94" fmla="*/ 0 w 529"/>
                    <a:gd name="T95" fmla="*/ 0 h 160"/>
                    <a:gd name="T96" fmla="*/ 0 w 529"/>
                    <a:gd name="T97" fmla="*/ 0 h 160"/>
                    <a:gd name="T98" fmla="*/ 0 w 529"/>
                    <a:gd name="T99" fmla="*/ 0 h 160"/>
                    <a:gd name="T100" fmla="*/ 0 w 529"/>
                    <a:gd name="T101" fmla="*/ 0 h 160"/>
                    <a:gd name="T102" fmla="*/ 0 w 529"/>
                    <a:gd name="T103" fmla="*/ 0 h 160"/>
                    <a:gd name="T104" fmla="*/ 0 w 529"/>
                    <a:gd name="T105" fmla="*/ 0 h 160"/>
                    <a:gd name="T106" fmla="*/ 0 w 529"/>
                    <a:gd name="T107" fmla="*/ 0 h 160"/>
                    <a:gd name="T108" fmla="*/ 0 w 529"/>
                    <a:gd name="T109" fmla="*/ 0 h 160"/>
                    <a:gd name="T110" fmla="*/ 0 w 529"/>
                    <a:gd name="T111" fmla="*/ 0 h 160"/>
                    <a:gd name="T112" fmla="*/ 0 w 529"/>
                    <a:gd name="T113" fmla="*/ 0 h 160"/>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529"/>
                    <a:gd name="T172" fmla="*/ 0 h 160"/>
                    <a:gd name="T173" fmla="*/ 529 w 529"/>
                    <a:gd name="T174" fmla="*/ 160 h 160"/>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529" h="160">
                      <a:moveTo>
                        <a:pt x="529" y="158"/>
                      </a:moveTo>
                      <a:lnTo>
                        <a:pt x="520" y="160"/>
                      </a:lnTo>
                      <a:lnTo>
                        <a:pt x="513" y="156"/>
                      </a:lnTo>
                      <a:lnTo>
                        <a:pt x="506" y="150"/>
                      </a:lnTo>
                      <a:lnTo>
                        <a:pt x="500" y="145"/>
                      </a:lnTo>
                      <a:lnTo>
                        <a:pt x="475" y="124"/>
                      </a:lnTo>
                      <a:lnTo>
                        <a:pt x="449" y="105"/>
                      </a:lnTo>
                      <a:lnTo>
                        <a:pt x="422" y="89"/>
                      </a:lnTo>
                      <a:lnTo>
                        <a:pt x="392" y="76"/>
                      </a:lnTo>
                      <a:lnTo>
                        <a:pt x="362" y="67"/>
                      </a:lnTo>
                      <a:lnTo>
                        <a:pt x="330" y="58"/>
                      </a:lnTo>
                      <a:lnTo>
                        <a:pt x="298" y="52"/>
                      </a:lnTo>
                      <a:lnTo>
                        <a:pt x="264" y="50"/>
                      </a:lnTo>
                      <a:lnTo>
                        <a:pt x="232" y="49"/>
                      </a:lnTo>
                      <a:lnTo>
                        <a:pt x="199" y="49"/>
                      </a:lnTo>
                      <a:lnTo>
                        <a:pt x="165" y="52"/>
                      </a:lnTo>
                      <a:lnTo>
                        <a:pt x="133" y="57"/>
                      </a:lnTo>
                      <a:lnTo>
                        <a:pt x="101" y="63"/>
                      </a:lnTo>
                      <a:lnTo>
                        <a:pt x="70" y="70"/>
                      </a:lnTo>
                      <a:lnTo>
                        <a:pt x="39" y="80"/>
                      </a:lnTo>
                      <a:lnTo>
                        <a:pt x="11" y="90"/>
                      </a:lnTo>
                      <a:lnTo>
                        <a:pt x="6" y="86"/>
                      </a:lnTo>
                      <a:lnTo>
                        <a:pt x="2" y="81"/>
                      </a:lnTo>
                      <a:lnTo>
                        <a:pt x="0" y="74"/>
                      </a:lnTo>
                      <a:lnTo>
                        <a:pt x="0" y="65"/>
                      </a:lnTo>
                      <a:lnTo>
                        <a:pt x="15" y="54"/>
                      </a:lnTo>
                      <a:lnTo>
                        <a:pt x="32" y="43"/>
                      </a:lnTo>
                      <a:lnTo>
                        <a:pt x="49" y="33"/>
                      </a:lnTo>
                      <a:lnTo>
                        <a:pt x="67" y="25"/>
                      </a:lnTo>
                      <a:lnTo>
                        <a:pt x="84" y="18"/>
                      </a:lnTo>
                      <a:lnTo>
                        <a:pt x="103" y="12"/>
                      </a:lnTo>
                      <a:lnTo>
                        <a:pt x="123" y="8"/>
                      </a:lnTo>
                      <a:lnTo>
                        <a:pt x="142" y="5"/>
                      </a:lnTo>
                      <a:lnTo>
                        <a:pt x="162" y="2"/>
                      </a:lnTo>
                      <a:lnTo>
                        <a:pt x="181" y="1"/>
                      </a:lnTo>
                      <a:lnTo>
                        <a:pt x="201" y="0"/>
                      </a:lnTo>
                      <a:lnTo>
                        <a:pt x="221" y="1"/>
                      </a:lnTo>
                      <a:lnTo>
                        <a:pt x="242" y="2"/>
                      </a:lnTo>
                      <a:lnTo>
                        <a:pt x="262" y="5"/>
                      </a:lnTo>
                      <a:lnTo>
                        <a:pt x="282" y="7"/>
                      </a:lnTo>
                      <a:lnTo>
                        <a:pt x="301" y="11"/>
                      </a:lnTo>
                      <a:lnTo>
                        <a:pt x="318" y="14"/>
                      </a:lnTo>
                      <a:lnTo>
                        <a:pt x="335" y="18"/>
                      </a:lnTo>
                      <a:lnTo>
                        <a:pt x="351" y="23"/>
                      </a:lnTo>
                      <a:lnTo>
                        <a:pt x="368" y="29"/>
                      </a:lnTo>
                      <a:lnTo>
                        <a:pt x="385" y="35"/>
                      </a:lnTo>
                      <a:lnTo>
                        <a:pt x="400" y="42"/>
                      </a:lnTo>
                      <a:lnTo>
                        <a:pt x="417" y="50"/>
                      </a:lnTo>
                      <a:lnTo>
                        <a:pt x="431" y="60"/>
                      </a:lnTo>
                      <a:lnTo>
                        <a:pt x="447" y="69"/>
                      </a:lnTo>
                      <a:lnTo>
                        <a:pt x="461" y="79"/>
                      </a:lnTo>
                      <a:lnTo>
                        <a:pt x="474" y="90"/>
                      </a:lnTo>
                      <a:lnTo>
                        <a:pt x="487" y="102"/>
                      </a:lnTo>
                      <a:lnTo>
                        <a:pt x="499" y="115"/>
                      </a:lnTo>
                      <a:lnTo>
                        <a:pt x="510" y="129"/>
                      </a:lnTo>
                      <a:lnTo>
                        <a:pt x="519" y="143"/>
                      </a:lnTo>
                      <a:lnTo>
                        <a:pt x="529" y="158"/>
                      </a:lnTo>
                      <a:close/>
                    </a:path>
                  </a:pathLst>
                </a:custGeom>
                <a:solidFill>
                  <a:srgbClr val="000000"/>
                </a:solidFill>
                <a:ln w="9525">
                  <a:noFill/>
                  <a:round/>
                  <a:headEnd/>
                  <a:tailEnd/>
                </a:ln>
              </p:spPr>
              <p:txBody>
                <a:bodyPr/>
                <a:lstStyle/>
                <a:p>
                  <a:endParaRPr lang="ja-JP" altLang="en-US" sz="1600" b="1">
                    <a:latin typeface="Times New Roman" charset="0"/>
                    <a:cs typeface="Times New Roman" charset="0"/>
                  </a:endParaRPr>
                </a:p>
              </p:txBody>
            </p:sp>
            <p:sp>
              <p:nvSpPr>
                <p:cNvPr id="46151" name="Freeform 143"/>
                <p:cNvSpPr>
                  <a:spLocks/>
                </p:cNvSpPr>
                <p:nvPr/>
              </p:nvSpPr>
              <p:spPr bwMode="auto">
                <a:xfrm>
                  <a:off x="4864" y="3306"/>
                  <a:ext cx="171" cy="172"/>
                </a:xfrm>
                <a:custGeom>
                  <a:avLst/>
                  <a:gdLst>
                    <a:gd name="T0" fmla="*/ 0 w 1028"/>
                    <a:gd name="T1" fmla="*/ 0 h 1033"/>
                    <a:gd name="T2" fmla="*/ 0 w 1028"/>
                    <a:gd name="T3" fmla="*/ 0 h 1033"/>
                    <a:gd name="T4" fmla="*/ 0 w 1028"/>
                    <a:gd name="T5" fmla="*/ 0 h 1033"/>
                    <a:gd name="T6" fmla="*/ 0 w 1028"/>
                    <a:gd name="T7" fmla="*/ 0 h 1033"/>
                    <a:gd name="T8" fmla="*/ 0 w 1028"/>
                    <a:gd name="T9" fmla="*/ 0 h 1033"/>
                    <a:gd name="T10" fmla="*/ 0 w 1028"/>
                    <a:gd name="T11" fmla="*/ 0 h 1033"/>
                    <a:gd name="T12" fmla="*/ 0 w 1028"/>
                    <a:gd name="T13" fmla="*/ 0 h 1033"/>
                    <a:gd name="T14" fmla="*/ 0 w 1028"/>
                    <a:gd name="T15" fmla="*/ 0 h 1033"/>
                    <a:gd name="T16" fmla="*/ 0 w 1028"/>
                    <a:gd name="T17" fmla="*/ 0 h 1033"/>
                    <a:gd name="T18" fmla="*/ 0 w 1028"/>
                    <a:gd name="T19" fmla="*/ 0 h 1033"/>
                    <a:gd name="T20" fmla="*/ 0 w 1028"/>
                    <a:gd name="T21" fmla="*/ 0 h 1033"/>
                    <a:gd name="T22" fmla="*/ 0 w 1028"/>
                    <a:gd name="T23" fmla="*/ 0 h 1033"/>
                    <a:gd name="T24" fmla="*/ 0 w 1028"/>
                    <a:gd name="T25" fmla="*/ 0 h 1033"/>
                    <a:gd name="T26" fmla="*/ 0 w 1028"/>
                    <a:gd name="T27" fmla="*/ 0 h 1033"/>
                    <a:gd name="T28" fmla="*/ 0 w 1028"/>
                    <a:gd name="T29" fmla="*/ 0 h 1033"/>
                    <a:gd name="T30" fmla="*/ 0 w 1028"/>
                    <a:gd name="T31" fmla="*/ 0 h 1033"/>
                    <a:gd name="T32" fmla="*/ 0 w 1028"/>
                    <a:gd name="T33" fmla="*/ 0 h 1033"/>
                    <a:gd name="T34" fmla="*/ 0 w 1028"/>
                    <a:gd name="T35" fmla="*/ 0 h 1033"/>
                    <a:gd name="T36" fmla="*/ 0 w 1028"/>
                    <a:gd name="T37" fmla="*/ 0 h 1033"/>
                    <a:gd name="T38" fmla="*/ 0 w 1028"/>
                    <a:gd name="T39" fmla="*/ 0 h 1033"/>
                    <a:gd name="T40" fmla="*/ 0 w 1028"/>
                    <a:gd name="T41" fmla="*/ 0 h 1033"/>
                    <a:gd name="T42" fmla="*/ 0 w 1028"/>
                    <a:gd name="T43" fmla="*/ 0 h 1033"/>
                    <a:gd name="T44" fmla="*/ 0 w 1028"/>
                    <a:gd name="T45" fmla="*/ 0 h 1033"/>
                    <a:gd name="T46" fmla="*/ 0 w 1028"/>
                    <a:gd name="T47" fmla="*/ 0 h 1033"/>
                    <a:gd name="T48" fmla="*/ 0 w 1028"/>
                    <a:gd name="T49" fmla="*/ 0 h 1033"/>
                    <a:gd name="T50" fmla="*/ 0 w 1028"/>
                    <a:gd name="T51" fmla="*/ 0 h 1033"/>
                    <a:gd name="T52" fmla="*/ 0 w 1028"/>
                    <a:gd name="T53" fmla="*/ 0 h 1033"/>
                    <a:gd name="T54" fmla="*/ 0 w 1028"/>
                    <a:gd name="T55" fmla="*/ 0 h 1033"/>
                    <a:gd name="T56" fmla="*/ 0 w 1028"/>
                    <a:gd name="T57" fmla="*/ 0 h 1033"/>
                    <a:gd name="T58" fmla="*/ 0 w 1028"/>
                    <a:gd name="T59" fmla="*/ 0 h 1033"/>
                    <a:gd name="T60" fmla="*/ 0 w 1028"/>
                    <a:gd name="T61" fmla="*/ 0 h 1033"/>
                    <a:gd name="T62" fmla="*/ 0 w 1028"/>
                    <a:gd name="T63" fmla="*/ 0 h 1033"/>
                    <a:gd name="T64" fmla="*/ 0 w 1028"/>
                    <a:gd name="T65" fmla="*/ 0 h 1033"/>
                    <a:gd name="T66" fmla="*/ 0 w 1028"/>
                    <a:gd name="T67" fmla="*/ 0 h 1033"/>
                    <a:gd name="T68" fmla="*/ 0 w 1028"/>
                    <a:gd name="T69" fmla="*/ 0 h 1033"/>
                    <a:gd name="T70" fmla="*/ 0 w 1028"/>
                    <a:gd name="T71" fmla="*/ 0 h 1033"/>
                    <a:gd name="T72" fmla="*/ 0 w 1028"/>
                    <a:gd name="T73" fmla="*/ 0 h 1033"/>
                    <a:gd name="T74" fmla="*/ 0 w 1028"/>
                    <a:gd name="T75" fmla="*/ 0 h 1033"/>
                    <a:gd name="T76" fmla="*/ 0 w 1028"/>
                    <a:gd name="T77" fmla="*/ 0 h 1033"/>
                    <a:gd name="T78" fmla="*/ 0 w 1028"/>
                    <a:gd name="T79" fmla="*/ 0 h 1033"/>
                    <a:gd name="T80" fmla="*/ 0 w 1028"/>
                    <a:gd name="T81" fmla="*/ 0 h 1033"/>
                    <a:gd name="T82" fmla="*/ 0 w 1028"/>
                    <a:gd name="T83" fmla="*/ 0 h 1033"/>
                    <a:gd name="T84" fmla="*/ 0 w 1028"/>
                    <a:gd name="T85" fmla="*/ 0 h 1033"/>
                    <a:gd name="T86" fmla="*/ 0 w 1028"/>
                    <a:gd name="T87" fmla="*/ 0 h 1033"/>
                    <a:gd name="T88" fmla="*/ 0 w 1028"/>
                    <a:gd name="T89" fmla="*/ 0 h 1033"/>
                    <a:gd name="T90" fmla="*/ 0 w 1028"/>
                    <a:gd name="T91" fmla="*/ 0 h 1033"/>
                    <a:gd name="T92" fmla="*/ 0 w 1028"/>
                    <a:gd name="T93" fmla="*/ 0 h 1033"/>
                    <a:gd name="T94" fmla="*/ 0 w 1028"/>
                    <a:gd name="T95" fmla="*/ 0 h 1033"/>
                    <a:gd name="T96" fmla="*/ 0 w 1028"/>
                    <a:gd name="T97" fmla="*/ 0 h 1033"/>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1028"/>
                    <a:gd name="T148" fmla="*/ 0 h 1033"/>
                    <a:gd name="T149" fmla="*/ 1028 w 1028"/>
                    <a:gd name="T150" fmla="*/ 1033 h 1033"/>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1028" h="1033">
                      <a:moveTo>
                        <a:pt x="967" y="843"/>
                      </a:moveTo>
                      <a:lnTo>
                        <a:pt x="997" y="50"/>
                      </a:lnTo>
                      <a:lnTo>
                        <a:pt x="188" y="39"/>
                      </a:lnTo>
                      <a:lnTo>
                        <a:pt x="209" y="904"/>
                      </a:lnTo>
                      <a:lnTo>
                        <a:pt x="205" y="909"/>
                      </a:lnTo>
                      <a:lnTo>
                        <a:pt x="195" y="912"/>
                      </a:lnTo>
                      <a:lnTo>
                        <a:pt x="185" y="913"/>
                      </a:lnTo>
                      <a:lnTo>
                        <a:pt x="181" y="911"/>
                      </a:lnTo>
                      <a:lnTo>
                        <a:pt x="143" y="63"/>
                      </a:lnTo>
                      <a:lnTo>
                        <a:pt x="23" y="171"/>
                      </a:lnTo>
                      <a:lnTo>
                        <a:pt x="27" y="299"/>
                      </a:lnTo>
                      <a:lnTo>
                        <a:pt x="37" y="580"/>
                      </a:lnTo>
                      <a:lnTo>
                        <a:pt x="47" y="863"/>
                      </a:lnTo>
                      <a:lnTo>
                        <a:pt x="53" y="996"/>
                      </a:lnTo>
                      <a:lnTo>
                        <a:pt x="70" y="988"/>
                      </a:lnTo>
                      <a:lnTo>
                        <a:pt x="89" y="980"/>
                      </a:lnTo>
                      <a:lnTo>
                        <a:pt x="110" y="972"/>
                      </a:lnTo>
                      <a:lnTo>
                        <a:pt x="131" y="963"/>
                      </a:lnTo>
                      <a:lnTo>
                        <a:pt x="149" y="956"/>
                      </a:lnTo>
                      <a:lnTo>
                        <a:pt x="164" y="950"/>
                      </a:lnTo>
                      <a:lnTo>
                        <a:pt x="174" y="947"/>
                      </a:lnTo>
                      <a:lnTo>
                        <a:pt x="178" y="947"/>
                      </a:lnTo>
                      <a:lnTo>
                        <a:pt x="162" y="959"/>
                      </a:lnTo>
                      <a:lnTo>
                        <a:pt x="145" y="971"/>
                      </a:lnTo>
                      <a:lnTo>
                        <a:pt x="126" y="980"/>
                      </a:lnTo>
                      <a:lnTo>
                        <a:pt x="106" y="991"/>
                      </a:lnTo>
                      <a:lnTo>
                        <a:pt x="87" y="1002"/>
                      </a:lnTo>
                      <a:lnTo>
                        <a:pt x="68" y="1011"/>
                      </a:lnTo>
                      <a:lnTo>
                        <a:pt x="48" y="1022"/>
                      </a:lnTo>
                      <a:lnTo>
                        <a:pt x="32" y="1033"/>
                      </a:lnTo>
                      <a:lnTo>
                        <a:pt x="26" y="996"/>
                      </a:lnTo>
                      <a:lnTo>
                        <a:pt x="19" y="900"/>
                      </a:lnTo>
                      <a:lnTo>
                        <a:pt x="13" y="766"/>
                      </a:lnTo>
                      <a:lnTo>
                        <a:pt x="8" y="610"/>
                      </a:lnTo>
                      <a:lnTo>
                        <a:pt x="3" y="452"/>
                      </a:lnTo>
                      <a:lnTo>
                        <a:pt x="0" y="310"/>
                      </a:lnTo>
                      <a:lnTo>
                        <a:pt x="0" y="202"/>
                      </a:lnTo>
                      <a:lnTo>
                        <a:pt x="1" y="149"/>
                      </a:lnTo>
                      <a:lnTo>
                        <a:pt x="152" y="0"/>
                      </a:lnTo>
                      <a:lnTo>
                        <a:pt x="1028" y="23"/>
                      </a:lnTo>
                      <a:lnTo>
                        <a:pt x="1027" y="58"/>
                      </a:lnTo>
                      <a:lnTo>
                        <a:pt x="1022" y="154"/>
                      </a:lnTo>
                      <a:lnTo>
                        <a:pt x="1017" y="288"/>
                      </a:lnTo>
                      <a:lnTo>
                        <a:pt x="1010" y="442"/>
                      </a:lnTo>
                      <a:lnTo>
                        <a:pt x="1003" y="595"/>
                      </a:lnTo>
                      <a:lnTo>
                        <a:pt x="997" y="730"/>
                      </a:lnTo>
                      <a:lnTo>
                        <a:pt x="992" y="824"/>
                      </a:lnTo>
                      <a:lnTo>
                        <a:pt x="990" y="859"/>
                      </a:lnTo>
                      <a:lnTo>
                        <a:pt x="967" y="843"/>
                      </a:lnTo>
                      <a:close/>
                    </a:path>
                  </a:pathLst>
                </a:custGeom>
                <a:solidFill>
                  <a:srgbClr val="000000"/>
                </a:solidFill>
                <a:ln w="9525">
                  <a:noFill/>
                  <a:round/>
                  <a:headEnd/>
                  <a:tailEnd/>
                </a:ln>
              </p:spPr>
              <p:txBody>
                <a:bodyPr/>
                <a:lstStyle/>
                <a:p>
                  <a:endParaRPr lang="ja-JP" altLang="en-US" sz="1600" b="1">
                    <a:latin typeface="Times New Roman" charset="0"/>
                    <a:cs typeface="Times New Roman" charset="0"/>
                  </a:endParaRPr>
                </a:p>
              </p:txBody>
            </p:sp>
            <p:sp>
              <p:nvSpPr>
                <p:cNvPr id="46152" name="Freeform 144"/>
                <p:cNvSpPr>
                  <a:spLocks/>
                </p:cNvSpPr>
                <p:nvPr/>
              </p:nvSpPr>
              <p:spPr bwMode="auto">
                <a:xfrm>
                  <a:off x="5048" y="3307"/>
                  <a:ext cx="117" cy="143"/>
                </a:xfrm>
                <a:custGeom>
                  <a:avLst/>
                  <a:gdLst>
                    <a:gd name="T0" fmla="*/ 0 w 700"/>
                    <a:gd name="T1" fmla="*/ 0 h 859"/>
                    <a:gd name="T2" fmla="*/ 0 w 700"/>
                    <a:gd name="T3" fmla="*/ 0 h 859"/>
                    <a:gd name="T4" fmla="*/ 0 w 700"/>
                    <a:gd name="T5" fmla="*/ 0 h 859"/>
                    <a:gd name="T6" fmla="*/ 0 w 700"/>
                    <a:gd name="T7" fmla="*/ 0 h 859"/>
                    <a:gd name="T8" fmla="*/ 0 w 700"/>
                    <a:gd name="T9" fmla="*/ 0 h 859"/>
                    <a:gd name="T10" fmla="*/ 0 w 700"/>
                    <a:gd name="T11" fmla="*/ 0 h 859"/>
                    <a:gd name="T12" fmla="*/ 0 w 700"/>
                    <a:gd name="T13" fmla="*/ 0 h 859"/>
                    <a:gd name="T14" fmla="*/ 0 w 700"/>
                    <a:gd name="T15" fmla="*/ 0 h 859"/>
                    <a:gd name="T16" fmla="*/ 0 w 700"/>
                    <a:gd name="T17" fmla="*/ 0 h 859"/>
                    <a:gd name="T18" fmla="*/ 0 w 700"/>
                    <a:gd name="T19" fmla="*/ 0 h 859"/>
                    <a:gd name="T20" fmla="*/ 0 w 700"/>
                    <a:gd name="T21" fmla="*/ 0 h 859"/>
                    <a:gd name="T22" fmla="*/ 0 w 700"/>
                    <a:gd name="T23" fmla="*/ 0 h 859"/>
                    <a:gd name="T24" fmla="*/ 0 w 700"/>
                    <a:gd name="T25" fmla="*/ 0 h 859"/>
                    <a:gd name="T26" fmla="*/ 0 w 700"/>
                    <a:gd name="T27" fmla="*/ 0 h 859"/>
                    <a:gd name="T28" fmla="*/ 0 w 700"/>
                    <a:gd name="T29" fmla="*/ 0 h 859"/>
                    <a:gd name="T30" fmla="*/ 0 w 700"/>
                    <a:gd name="T31" fmla="*/ 0 h 859"/>
                    <a:gd name="T32" fmla="*/ 0 w 700"/>
                    <a:gd name="T33" fmla="*/ 0 h 859"/>
                    <a:gd name="T34" fmla="*/ 0 w 700"/>
                    <a:gd name="T35" fmla="*/ 0 h 859"/>
                    <a:gd name="T36" fmla="*/ 0 w 700"/>
                    <a:gd name="T37" fmla="*/ 0 h 859"/>
                    <a:gd name="T38" fmla="*/ 0 w 700"/>
                    <a:gd name="T39" fmla="*/ 0 h 859"/>
                    <a:gd name="T40" fmla="*/ 0 w 700"/>
                    <a:gd name="T41" fmla="*/ 0 h 859"/>
                    <a:gd name="T42" fmla="*/ 0 w 700"/>
                    <a:gd name="T43" fmla="*/ 0 h 859"/>
                    <a:gd name="T44" fmla="*/ 0 w 700"/>
                    <a:gd name="T45" fmla="*/ 0 h 859"/>
                    <a:gd name="T46" fmla="*/ 0 w 700"/>
                    <a:gd name="T47" fmla="*/ 0 h 859"/>
                    <a:gd name="T48" fmla="*/ 0 w 700"/>
                    <a:gd name="T49" fmla="*/ 0 h 859"/>
                    <a:gd name="T50" fmla="*/ 0 w 700"/>
                    <a:gd name="T51" fmla="*/ 0 h 859"/>
                    <a:gd name="T52" fmla="*/ 0 w 700"/>
                    <a:gd name="T53" fmla="*/ 0 h 859"/>
                    <a:gd name="T54" fmla="*/ 0 w 700"/>
                    <a:gd name="T55" fmla="*/ 0 h 859"/>
                    <a:gd name="T56" fmla="*/ 0 w 700"/>
                    <a:gd name="T57" fmla="*/ 0 h 859"/>
                    <a:gd name="T58" fmla="*/ 0 w 700"/>
                    <a:gd name="T59" fmla="*/ 0 h 859"/>
                    <a:gd name="T60" fmla="*/ 0 w 700"/>
                    <a:gd name="T61" fmla="*/ 0 h 859"/>
                    <a:gd name="T62" fmla="*/ 0 w 700"/>
                    <a:gd name="T63" fmla="*/ 0 h 859"/>
                    <a:gd name="T64" fmla="*/ 0 w 700"/>
                    <a:gd name="T65" fmla="*/ 0 h 859"/>
                    <a:gd name="T66" fmla="*/ 0 w 700"/>
                    <a:gd name="T67" fmla="*/ 0 h 859"/>
                    <a:gd name="T68" fmla="*/ 0 w 700"/>
                    <a:gd name="T69" fmla="*/ 0 h 859"/>
                    <a:gd name="T70" fmla="*/ 0 w 700"/>
                    <a:gd name="T71" fmla="*/ 0 h 859"/>
                    <a:gd name="T72" fmla="*/ 0 w 700"/>
                    <a:gd name="T73" fmla="*/ 0 h 859"/>
                    <a:gd name="T74" fmla="*/ 0 w 700"/>
                    <a:gd name="T75" fmla="*/ 0 h 859"/>
                    <a:gd name="T76" fmla="*/ 0 w 700"/>
                    <a:gd name="T77" fmla="*/ 0 h 859"/>
                    <a:gd name="T78" fmla="*/ 0 w 700"/>
                    <a:gd name="T79" fmla="*/ 0 h 859"/>
                    <a:gd name="T80" fmla="*/ 0 w 700"/>
                    <a:gd name="T81" fmla="*/ 0 h 859"/>
                    <a:gd name="T82" fmla="*/ 0 w 700"/>
                    <a:gd name="T83" fmla="*/ 0 h 859"/>
                    <a:gd name="T84" fmla="*/ 0 w 700"/>
                    <a:gd name="T85" fmla="*/ 0 h 859"/>
                    <a:gd name="T86" fmla="*/ 0 w 700"/>
                    <a:gd name="T87" fmla="*/ 0 h 859"/>
                    <a:gd name="T88" fmla="*/ 0 w 700"/>
                    <a:gd name="T89" fmla="*/ 0 h 859"/>
                    <a:gd name="T90" fmla="*/ 0 w 700"/>
                    <a:gd name="T91" fmla="*/ 0 h 859"/>
                    <a:gd name="T92" fmla="*/ 0 w 700"/>
                    <a:gd name="T93" fmla="*/ 0 h 859"/>
                    <a:gd name="T94" fmla="*/ 0 w 700"/>
                    <a:gd name="T95" fmla="*/ 0 h 859"/>
                    <a:gd name="T96" fmla="*/ 0 w 700"/>
                    <a:gd name="T97" fmla="*/ 0 h 859"/>
                    <a:gd name="T98" fmla="*/ 0 w 700"/>
                    <a:gd name="T99" fmla="*/ 0 h 859"/>
                    <a:gd name="T100" fmla="*/ 0 w 700"/>
                    <a:gd name="T101" fmla="*/ 0 h 859"/>
                    <a:gd name="T102" fmla="*/ 0 w 700"/>
                    <a:gd name="T103" fmla="*/ 0 h 859"/>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700"/>
                    <a:gd name="T157" fmla="*/ 0 h 859"/>
                    <a:gd name="T158" fmla="*/ 700 w 700"/>
                    <a:gd name="T159" fmla="*/ 859 h 859"/>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700" h="859">
                      <a:moveTo>
                        <a:pt x="636" y="859"/>
                      </a:moveTo>
                      <a:lnTo>
                        <a:pt x="629" y="855"/>
                      </a:lnTo>
                      <a:lnTo>
                        <a:pt x="623" y="852"/>
                      </a:lnTo>
                      <a:lnTo>
                        <a:pt x="619" y="846"/>
                      </a:lnTo>
                      <a:lnTo>
                        <a:pt x="614" y="839"/>
                      </a:lnTo>
                      <a:lnTo>
                        <a:pt x="609" y="832"/>
                      </a:lnTo>
                      <a:lnTo>
                        <a:pt x="606" y="824"/>
                      </a:lnTo>
                      <a:lnTo>
                        <a:pt x="601" y="817"/>
                      </a:lnTo>
                      <a:lnTo>
                        <a:pt x="597" y="810"/>
                      </a:lnTo>
                      <a:lnTo>
                        <a:pt x="585" y="788"/>
                      </a:lnTo>
                      <a:lnTo>
                        <a:pt x="575" y="764"/>
                      </a:lnTo>
                      <a:lnTo>
                        <a:pt x="565" y="740"/>
                      </a:lnTo>
                      <a:lnTo>
                        <a:pt x="558" y="715"/>
                      </a:lnTo>
                      <a:lnTo>
                        <a:pt x="552" y="689"/>
                      </a:lnTo>
                      <a:lnTo>
                        <a:pt x="546" y="662"/>
                      </a:lnTo>
                      <a:lnTo>
                        <a:pt x="541" y="636"/>
                      </a:lnTo>
                      <a:lnTo>
                        <a:pt x="536" y="610"/>
                      </a:lnTo>
                      <a:lnTo>
                        <a:pt x="523" y="599"/>
                      </a:lnTo>
                      <a:lnTo>
                        <a:pt x="509" y="590"/>
                      </a:lnTo>
                      <a:lnTo>
                        <a:pt x="496" y="579"/>
                      </a:lnTo>
                      <a:lnTo>
                        <a:pt x="483" y="567"/>
                      </a:lnTo>
                      <a:lnTo>
                        <a:pt x="470" y="556"/>
                      </a:lnTo>
                      <a:lnTo>
                        <a:pt x="457" y="545"/>
                      </a:lnTo>
                      <a:lnTo>
                        <a:pt x="446" y="531"/>
                      </a:lnTo>
                      <a:lnTo>
                        <a:pt x="436" y="518"/>
                      </a:lnTo>
                      <a:lnTo>
                        <a:pt x="424" y="518"/>
                      </a:lnTo>
                      <a:lnTo>
                        <a:pt x="410" y="515"/>
                      </a:lnTo>
                      <a:lnTo>
                        <a:pt x="397" y="509"/>
                      </a:lnTo>
                      <a:lnTo>
                        <a:pt x="384" y="502"/>
                      </a:lnTo>
                      <a:lnTo>
                        <a:pt x="373" y="493"/>
                      </a:lnTo>
                      <a:lnTo>
                        <a:pt x="364" y="486"/>
                      </a:lnTo>
                      <a:lnTo>
                        <a:pt x="358" y="480"/>
                      </a:lnTo>
                      <a:lnTo>
                        <a:pt x="355" y="478"/>
                      </a:lnTo>
                      <a:lnTo>
                        <a:pt x="361" y="477"/>
                      </a:lnTo>
                      <a:lnTo>
                        <a:pt x="367" y="478"/>
                      </a:lnTo>
                      <a:lnTo>
                        <a:pt x="372" y="479"/>
                      </a:lnTo>
                      <a:lnTo>
                        <a:pt x="378" y="479"/>
                      </a:lnTo>
                      <a:lnTo>
                        <a:pt x="384" y="480"/>
                      </a:lnTo>
                      <a:lnTo>
                        <a:pt x="391" y="481"/>
                      </a:lnTo>
                      <a:lnTo>
                        <a:pt x="397" y="480"/>
                      </a:lnTo>
                      <a:lnTo>
                        <a:pt x="404" y="478"/>
                      </a:lnTo>
                      <a:lnTo>
                        <a:pt x="421" y="464"/>
                      </a:lnTo>
                      <a:lnTo>
                        <a:pt x="430" y="448"/>
                      </a:lnTo>
                      <a:lnTo>
                        <a:pt x="434" y="430"/>
                      </a:lnTo>
                      <a:lnTo>
                        <a:pt x="439" y="412"/>
                      </a:lnTo>
                      <a:lnTo>
                        <a:pt x="436" y="400"/>
                      </a:lnTo>
                      <a:lnTo>
                        <a:pt x="435" y="389"/>
                      </a:lnTo>
                      <a:lnTo>
                        <a:pt x="432" y="377"/>
                      </a:lnTo>
                      <a:lnTo>
                        <a:pt x="429" y="365"/>
                      </a:lnTo>
                      <a:lnTo>
                        <a:pt x="424" y="354"/>
                      </a:lnTo>
                      <a:lnTo>
                        <a:pt x="418" y="346"/>
                      </a:lnTo>
                      <a:lnTo>
                        <a:pt x="411" y="337"/>
                      </a:lnTo>
                      <a:lnTo>
                        <a:pt x="402" y="331"/>
                      </a:lnTo>
                      <a:lnTo>
                        <a:pt x="384" y="327"/>
                      </a:lnTo>
                      <a:lnTo>
                        <a:pt x="366" y="323"/>
                      </a:lnTo>
                      <a:lnTo>
                        <a:pt x="348" y="319"/>
                      </a:lnTo>
                      <a:lnTo>
                        <a:pt x="330" y="317"/>
                      </a:lnTo>
                      <a:lnTo>
                        <a:pt x="312" y="313"/>
                      </a:lnTo>
                      <a:lnTo>
                        <a:pt x="295" y="310"/>
                      </a:lnTo>
                      <a:lnTo>
                        <a:pt x="278" y="306"/>
                      </a:lnTo>
                      <a:lnTo>
                        <a:pt x="260" y="303"/>
                      </a:lnTo>
                      <a:lnTo>
                        <a:pt x="242" y="298"/>
                      </a:lnTo>
                      <a:lnTo>
                        <a:pt x="225" y="293"/>
                      </a:lnTo>
                      <a:lnTo>
                        <a:pt x="209" y="288"/>
                      </a:lnTo>
                      <a:lnTo>
                        <a:pt x="192" y="281"/>
                      </a:lnTo>
                      <a:lnTo>
                        <a:pt x="175" y="274"/>
                      </a:lnTo>
                      <a:lnTo>
                        <a:pt x="160" y="266"/>
                      </a:lnTo>
                      <a:lnTo>
                        <a:pt x="144" y="256"/>
                      </a:lnTo>
                      <a:lnTo>
                        <a:pt x="130" y="246"/>
                      </a:lnTo>
                      <a:lnTo>
                        <a:pt x="119" y="286"/>
                      </a:lnTo>
                      <a:lnTo>
                        <a:pt x="111" y="328"/>
                      </a:lnTo>
                      <a:lnTo>
                        <a:pt x="104" y="372"/>
                      </a:lnTo>
                      <a:lnTo>
                        <a:pt x="102" y="415"/>
                      </a:lnTo>
                      <a:lnTo>
                        <a:pt x="102" y="460"/>
                      </a:lnTo>
                      <a:lnTo>
                        <a:pt x="106" y="504"/>
                      </a:lnTo>
                      <a:lnTo>
                        <a:pt x="115" y="548"/>
                      </a:lnTo>
                      <a:lnTo>
                        <a:pt x="127" y="592"/>
                      </a:lnTo>
                      <a:lnTo>
                        <a:pt x="138" y="612"/>
                      </a:lnTo>
                      <a:lnTo>
                        <a:pt x="150" y="635"/>
                      </a:lnTo>
                      <a:lnTo>
                        <a:pt x="165" y="657"/>
                      </a:lnTo>
                      <a:lnTo>
                        <a:pt x="179" y="677"/>
                      </a:lnTo>
                      <a:lnTo>
                        <a:pt x="196" y="696"/>
                      </a:lnTo>
                      <a:lnTo>
                        <a:pt x="215" y="712"/>
                      </a:lnTo>
                      <a:lnTo>
                        <a:pt x="235" y="726"/>
                      </a:lnTo>
                      <a:lnTo>
                        <a:pt x="259" y="735"/>
                      </a:lnTo>
                      <a:lnTo>
                        <a:pt x="265" y="735"/>
                      </a:lnTo>
                      <a:lnTo>
                        <a:pt x="272" y="733"/>
                      </a:lnTo>
                      <a:lnTo>
                        <a:pt x="279" y="730"/>
                      </a:lnTo>
                      <a:lnTo>
                        <a:pt x="285" y="728"/>
                      </a:lnTo>
                      <a:lnTo>
                        <a:pt x="291" y="726"/>
                      </a:lnTo>
                      <a:lnTo>
                        <a:pt x="297" y="724"/>
                      </a:lnTo>
                      <a:lnTo>
                        <a:pt x="300" y="727"/>
                      </a:lnTo>
                      <a:lnTo>
                        <a:pt x="304" y="732"/>
                      </a:lnTo>
                      <a:lnTo>
                        <a:pt x="297" y="736"/>
                      </a:lnTo>
                      <a:lnTo>
                        <a:pt x="290" y="740"/>
                      </a:lnTo>
                      <a:lnTo>
                        <a:pt x="283" y="743"/>
                      </a:lnTo>
                      <a:lnTo>
                        <a:pt x="275" y="746"/>
                      </a:lnTo>
                      <a:lnTo>
                        <a:pt x="268" y="747"/>
                      </a:lnTo>
                      <a:lnTo>
                        <a:pt x="260" y="748"/>
                      </a:lnTo>
                      <a:lnTo>
                        <a:pt x="252" y="747"/>
                      </a:lnTo>
                      <a:lnTo>
                        <a:pt x="243" y="745"/>
                      </a:lnTo>
                      <a:lnTo>
                        <a:pt x="219" y="734"/>
                      </a:lnTo>
                      <a:lnTo>
                        <a:pt x="198" y="722"/>
                      </a:lnTo>
                      <a:lnTo>
                        <a:pt x="178" y="709"/>
                      </a:lnTo>
                      <a:lnTo>
                        <a:pt x="159" y="693"/>
                      </a:lnTo>
                      <a:lnTo>
                        <a:pt x="142" y="677"/>
                      </a:lnTo>
                      <a:lnTo>
                        <a:pt x="127" y="659"/>
                      </a:lnTo>
                      <a:lnTo>
                        <a:pt x="112" y="639"/>
                      </a:lnTo>
                      <a:lnTo>
                        <a:pt x="100" y="618"/>
                      </a:lnTo>
                      <a:lnTo>
                        <a:pt x="90" y="597"/>
                      </a:lnTo>
                      <a:lnTo>
                        <a:pt x="80" y="574"/>
                      </a:lnTo>
                      <a:lnTo>
                        <a:pt x="72" y="551"/>
                      </a:lnTo>
                      <a:lnTo>
                        <a:pt x="66" y="527"/>
                      </a:lnTo>
                      <a:lnTo>
                        <a:pt x="61" y="502"/>
                      </a:lnTo>
                      <a:lnTo>
                        <a:pt x="57" y="477"/>
                      </a:lnTo>
                      <a:lnTo>
                        <a:pt x="55" y="452"/>
                      </a:lnTo>
                      <a:lnTo>
                        <a:pt x="55" y="425"/>
                      </a:lnTo>
                      <a:lnTo>
                        <a:pt x="55" y="341"/>
                      </a:lnTo>
                      <a:lnTo>
                        <a:pt x="47" y="341"/>
                      </a:lnTo>
                      <a:lnTo>
                        <a:pt x="40" y="341"/>
                      </a:lnTo>
                      <a:lnTo>
                        <a:pt x="31" y="341"/>
                      </a:lnTo>
                      <a:lnTo>
                        <a:pt x="23" y="340"/>
                      </a:lnTo>
                      <a:lnTo>
                        <a:pt x="16" y="337"/>
                      </a:lnTo>
                      <a:lnTo>
                        <a:pt x="10" y="334"/>
                      </a:lnTo>
                      <a:lnTo>
                        <a:pt x="4" y="330"/>
                      </a:lnTo>
                      <a:lnTo>
                        <a:pt x="0" y="324"/>
                      </a:lnTo>
                      <a:lnTo>
                        <a:pt x="59" y="304"/>
                      </a:lnTo>
                      <a:lnTo>
                        <a:pt x="63" y="278"/>
                      </a:lnTo>
                      <a:lnTo>
                        <a:pt x="68" y="250"/>
                      </a:lnTo>
                      <a:lnTo>
                        <a:pt x="75" y="224"/>
                      </a:lnTo>
                      <a:lnTo>
                        <a:pt x="91" y="203"/>
                      </a:lnTo>
                      <a:lnTo>
                        <a:pt x="81" y="191"/>
                      </a:lnTo>
                      <a:lnTo>
                        <a:pt x="74" y="177"/>
                      </a:lnTo>
                      <a:lnTo>
                        <a:pt x="67" y="161"/>
                      </a:lnTo>
                      <a:lnTo>
                        <a:pt x="62" y="146"/>
                      </a:lnTo>
                      <a:lnTo>
                        <a:pt x="59" y="130"/>
                      </a:lnTo>
                      <a:lnTo>
                        <a:pt x="59" y="113"/>
                      </a:lnTo>
                      <a:lnTo>
                        <a:pt x="60" y="97"/>
                      </a:lnTo>
                      <a:lnTo>
                        <a:pt x="66" y="80"/>
                      </a:lnTo>
                      <a:lnTo>
                        <a:pt x="73" y="67"/>
                      </a:lnTo>
                      <a:lnTo>
                        <a:pt x="80" y="55"/>
                      </a:lnTo>
                      <a:lnTo>
                        <a:pt x="88" y="43"/>
                      </a:lnTo>
                      <a:lnTo>
                        <a:pt x="98" y="32"/>
                      </a:lnTo>
                      <a:lnTo>
                        <a:pt x="107" y="23"/>
                      </a:lnTo>
                      <a:lnTo>
                        <a:pt x="119" y="15"/>
                      </a:lnTo>
                      <a:lnTo>
                        <a:pt x="130" y="7"/>
                      </a:lnTo>
                      <a:lnTo>
                        <a:pt x="143" y="0"/>
                      </a:lnTo>
                      <a:lnTo>
                        <a:pt x="149" y="9"/>
                      </a:lnTo>
                      <a:lnTo>
                        <a:pt x="150" y="16"/>
                      </a:lnTo>
                      <a:lnTo>
                        <a:pt x="147" y="23"/>
                      </a:lnTo>
                      <a:lnTo>
                        <a:pt x="140" y="29"/>
                      </a:lnTo>
                      <a:lnTo>
                        <a:pt x="131" y="35"/>
                      </a:lnTo>
                      <a:lnTo>
                        <a:pt x="124" y="42"/>
                      </a:lnTo>
                      <a:lnTo>
                        <a:pt x="117" y="49"/>
                      </a:lnTo>
                      <a:lnTo>
                        <a:pt x="113" y="57"/>
                      </a:lnTo>
                      <a:lnTo>
                        <a:pt x="106" y="86"/>
                      </a:lnTo>
                      <a:lnTo>
                        <a:pt x="107" y="117"/>
                      </a:lnTo>
                      <a:lnTo>
                        <a:pt x="115" y="146"/>
                      </a:lnTo>
                      <a:lnTo>
                        <a:pt x="127" y="172"/>
                      </a:lnTo>
                      <a:lnTo>
                        <a:pt x="143" y="191"/>
                      </a:lnTo>
                      <a:lnTo>
                        <a:pt x="160" y="207"/>
                      </a:lnTo>
                      <a:lnTo>
                        <a:pt x="179" y="222"/>
                      </a:lnTo>
                      <a:lnTo>
                        <a:pt x="199" y="234"/>
                      </a:lnTo>
                      <a:lnTo>
                        <a:pt x="219" y="243"/>
                      </a:lnTo>
                      <a:lnTo>
                        <a:pt x="241" y="250"/>
                      </a:lnTo>
                      <a:lnTo>
                        <a:pt x="264" y="258"/>
                      </a:lnTo>
                      <a:lnTo>
                        <a:pt x="286" y="263"/>
                      </a:lnTo>
                      <a:lnTo>
                        <a:pt x="309" y="268"/>
                      </a:lnTo>
                      <a:lnTo>
                        <a:pt x="331" y="274"/>
                      </a:lnTo>
                      <a:lnTo>
                        <a:pt x="354" y="280"/>
                      </a:lnTo>
                      <a:lnTo>
                        <a:pt x="377" y="286"/>
                      </a:lnTo>
                      <a:lnTo>
                        <a:pt x="398" y="293"/>
                      </a:lnTo>
                      <a:lnTo>
                        <a:pt x="420" y="303"/>
                      </a:lnTo>
                      <a:lnTo>
                        <a:pt x="440" y="312"/>
                      </a:lnTo>
                      <a:lnTo>
                        <a:pt x="460" y="325"/>
                      </a:lnTo>
                      <a:lnTo>
                        <a:pt x="476" y="328"/>
                      </a:lnTo>
                      <a:lnTo>
                        <a:pt x="491" y="333"/>
                      </a:lnTo>
                      <a:lnTo>
                        <a:pt x="505" y="340"/>
                      </a:lnTo>
                      <a:lnTo>
                        <a:pt x="519" y="348"/>
                      </a:lnTo>
                      <a:lnTo>
                        <a:pt x="530" y="359"/>
                      </a:lnTo>
                      <a:lnTo>
                        <a:pt x="541" y="371"/>
                      </a:lnTo>
                      <a:lnTo>
                        <a:pt x="550" y="383"/>
                      </a:lnTo>
                      <a:lnTo>
                        <a:pt x="558" y="397"/>
                      </a:lnTo>
                      <a:lnTo>
                        <a:pt x="560" y="410"/>
                      </a:lnTo>
                      <a:lnTo>
                        <a:pt x="559" y="424"/>
                      </a:lnTo>
                      <a:lnTo>
                        <a:pt x="553" y="435"/>
                      </a:lnTo>
                      <a:lnTo>
                        <a:pt x="542" y="444"/>
                      </a:lnTo>
                      <a:lnTo>
                        <a:pt x="535" y="444"/>
                      </a:lnTo>
                      <a:lnTo>
                        <a:pt x="528" y="441"/>
                      </a:lnTo>
                      <a:lnTo>
                        <a:pt x="520" y="436"/>
                      </a:lnTo>
                      <a:lnTo>
                        <a:pt x="513" y="431"/>
                      </a:lnTo>
                      <a:lnTo>
                        <a:pt x="505" y="425"/>
                      </a:lnTo>
                      <a:lnTo>
                        <a:pt x="499" y="419"/>
                      </a:lnTo>
                      <a:lnTo>
                        <a:pt x="496" y="416"/>
                      </a:lnTo>
                      <a:lnTo>
                        <a:pt x="495" y="415"/>
                      </a:lnTo>
                      <a:lnTo>
                        <a:pt x="502" y="418"/>
                      </a:lnTo>
                      <a:lnTo>
                        <a:pt x="509" y="423"/>
                      </a:lnTo>
                      <a:lnTo>
                        <a:pt x="515" y="427"/>
                      </a:lnTo>
                      <a:lnTo>
                        <a:pt x="523" y="428"/>
                      </a:lnTo>
                      <a:lnTo>
                        <a:pt x="529" y="423"/>
                      </a:lnTo>
                      <a:lnTo>
                        <a:pt x="533" y="416"/>
                      </a:lnTo>
                      <a:lnTo>
                        <a:pt x="534" y="410"/>
                      </a:lnTo>
                      <a:lnTo>
                        <a:pt x="534" y="402"/>
                      </a:lnTo>
                      <a:lnTo>
                        <a:pt x="526" y="396"/>
                      </a:lnTo>
                      <a:lnTo>
                        <a:pt x="519" y="387"/>
                      </a:lnTo>
                      <a:lnTo>
                        <a:pt x="510" y="380"/>
                      </a:lnTo>
                      <a:lnTo>
                        <a:pt x="501" y="373"/>
                      </a:lnTo>
                      <a:lnTo>
                        <a:pt x="492" y="366"/>
                      </a:lnTo>
                      <a:lnTo>
                        <a:pt x="483" y="361"/>
                      </a:lnTo>
                      <a:lnTo>
                        <a:pt x="472" y="358"/>
                      </a:lnTo>
                      <a:lnTo>
                        <a:pt x="463" y="358"/>
                      </a:lnTo>
                      <a:lnTo>
                        <a:pt x="470" y="380"/>
                      </a:lnTo>
                      <a:lnTo>
                        <a:pt x="473" y="405"/>
                      </a:lnTo>
                      <a:lnTo>
                        <a:pt x="474" y="430"/>
                      </a:lnTo>
                      <a:lnTo>
                        <a:pt x="477" y="455"/>
                      </a:lnTo>
                      <a:lnTo>
                        <a:pt x="479" y="480"/>
                      </a:lnTo>
                      <a:lnTo>
                        <a:pt x="485" y="504"/>
                      </a:lnTo>
                      <a:lnTo>
                        <a:pt x="497" y="527"/>
                      </a:lnTo>
                      <a:lnTo>
                        <a:pt x="514" y="547"/>
                      </a:lnTo>
                      <a:lnTo>
                        <a:pt x="528" y="562"/>
                      </a:lnTo>
                      <a:lnTo>
                        <a:pt x="542" y="579"/>
                      </a:lnTo>
                      <a:lnTo>
                        <a:pt x="558" y="595"/>
                      </a:lnTo>
                      <a:lnTo>
                        <a:pt x="576" y="609"/>
                      </a:lnTo>
                      <a:lnTo>
                        <a:pt x="594" y="621"/>
                      </a:lnTo>
                      <a:lnTo>
                        <a:pt x="613" y="629"/>
                      </a:lnTo>
                      <a:lnTo>
                        <a:pt x="633" y="633"/>
                      </a:lnTo>
                      <a:lnTo>
                        <a:pt x="656" y="631"/>
                      </a:lnTo>
                      <a:lnTo>
                        <a:pt x="659" y="628"/>
                      </a:lnTo>
                      <a:lnTo>
                        <a:pt x="664" y="624"/>
                      </a:lnTo>
                      <a:lnTo>
                        <a:pt x="669" y="622"/>
                      </a:lnTo>
                      <a:lnTo>
                        <a:pt x="672" y="618"/>
                      </a:lnTo>
                      <a:lnTo>
                        <a:pt x="667" y="614"/>
                      </a:lnTo>
                      <a:lnTo>
                        <a:pt x="662" y="611"/>
                      </a:lnTo>
                      <a:lnTo>
                        <a:pt x="657" y="609"/>
                      </a:lnTo>
                      <a:lnTo>
                        <a:pt x="656" y="603"/>
                      </a:lnTo>
                      <a:lnTo>
                        <a:pt x="663" y="598"/>
                      </a:lnTo>
                      <a:lnTo>
                        <a:pt x="670" y="596"/>
                      </a:lnTo>
                      <a:lnTo>
                        <a:pt x="679" y="595"/>
                      </a:lnTo>
                      <a:lnTo>
                        <a:pt x="688" y="597"/>
                      </a:lnTo>
                      <a:lnTo>
                        <a:pt x="695" y="604"/>
                      </a:lnTo>
                      <a:lnTo>
                        <a:pt x="698" y="612"/>
                      </a:lnTo>
                      <a:lnTo>
                        <a:pt x="700" y="621"/>
                      </a:lnTo>
                      <a:lnTo>
                        <a:pt x="698" y="629"/>
                      </a:lnTo>
                      <a:lnTo>
                        <a:pt x="697" y="640"/>
                      </a:lnTo>
                      <a:lnTo>
                        <a:pt x="691" y="649"/>
                      </a:lnTo>
                      <a:lnTo>
                        <a:pt x="681" y="658"/>
                      </a:lnTo>
                      <a:lnTo>
                        <a:pt x="667" y="665"/>
                      </a:lnTo>
                      <a:lnTo>
                        <a:pt x="652" y="666"/>
                      </a:lnTo>
                      <a:lnTo>
                        <a:pt x="638" y="665"/>
                      </a:lnTo>
                      <a:lnTo>
                        <a:pt x="623" y="662"/>
                      </a:lnTo>
                      <a:lnTo>
                        <a:pt x="610" y="659"/>
                      </a:lnTo>
                      <a:lnTo>
                        <a:pt x="597" y="653"/>
                      </a:lnTo>
                      <a:lnTo>
                        <a:pt x="585" y="648"/>
                      </a:lnTo>
                      <a:lnTo>
                        <a:pt x="576" y="641"/>
                      </a:lnTo>
                      <a:lnTo>
                        <a:pt x="566" y="635"/>
                      </a:lnTo>
                      <a:lnTo>
                        <a:pt x="573" y="658"/>
                      </a:lnTo>
                      <a:lnTo>
                        <a:pt x="582" y="680"/>
                      </a:lnTo>
                      <a:lnTo>
                        <a:pt x="591" y="702"/>
                      </a:lnTo>
                      <a:lnTo>
                        <a:pt x="602" y="724"/>
                      </a:lnTo>
                      <a:lnTo>
                        <a:pt x="614" y="746"/>
                      </a:lnTo>
                      <a:lnTo>
                        <a:pt x="626" y="768"/>
                      </a:lnTo>
                      <a:lnTo>
                        <a:pt x="639" y="790"/>
                      </a:lnTo>
                      <a:lnTo>
                        <a:pt x="653" y="810"/>
                      </a:lnTo>
                      <a:lnTo>
                        <a:pt x="636" y="859"/>
                      </a:lnTo>
                      <a:close/>
                    </a:path>
                  </a:pathLst>
                </a:custGeom>
                <a:solidFill>
                  <a:srgbClr val="000000"/>
                </a:solidFill>
                <a:ln w="9525">
                  <a:noFill/>
                  <a:round/>
                  <a:headEnd/>
                  <a:tailEnd/>
                </a:ln>
              </p:spPr>
              <p:txBody>
                <a:bodyPr/>
                <a:lstStyle/>
                <a:p>
                  <a:endParaRPr lang="ja-JP" altLang="en-US" sz="1600" b="1">
                    <a:latin typeface="Times New Roman" charset="0"/>
                    <a:cs typeface="Times New Roman" charset="0"/>
                  </a:endParaRPr>
                </a:p>
              </p:txBody>
            </p:sp>
            <p:sp>
              <p:nvSpPr>
                <p:cNvPr id="46153" name="Freeform 145"/>
                <p:cNvSpPr>
                  <a:spLocks/>
                </p:cNvSpPr>
                <p:nvPr/>
              </p:nvSpPr>
              <p:spPr bwMode="auto">
                <a:xfrm>
                  <a:off x="5170" y="3316"/>
                  <a:ext cx="45" cy="87"/>
                </a:xfrm>
                <a:custGeom>
                  <a:avLst/>
                  <a:gdLst>
                    <a:gd name="T0" fmla="*/ 0 w 269"/>
                    <a:gd name="T1" fmla="*/ 0 h 518"/>
                    <a:gd name="T2" fmla="*/ 0 w 269"/>
                    <a:gd name="T3" fmla="*/ 0 h 518"/>
                    <a:gd name="T4" fmla="*/ 0 w 269"/>
                    <a:gd name="T5" fmla="*/ 0 h 518"/>
                    <a:gd name="T6" fmla="*/ 0 w 269"/>
                    <a:gd name="T7" fmla="*/ 0 h 518"/>
                    <a:gd name="T8" fmla="*/ 0 w 269"/>
                    <a:gd name="T9" fmla="*/ 0 h 518"/>
                    <a:gd name="T10" fmla="*/ 0 w 269"/>
                    <a:gd name="T11" fmla="*/ 0 h 518"/>
                    <a:gd name="T12" fmla="*/ 0 w 269"/>
                    <a:gd name="T13" fmla="*/ 0 h 518"/>
                    <a:gd name="T14" fmla="*/ 0 w 269"/>
                    <a:gd name="T15" fmla="*/ 0 h 518"/>
                    <a:gd name="T16" fmla="*/ 0 w 269"/>
                    <a:gd name="T17" fmla="*/ 0 h 518"/>
                    <a:gd name="T18" fmla="*/ 0 w 269"/>
                    <a:gd name="T19" fmla="*/ 0 h 518"/>
                    <a:gd name="T20" fmla="*/ 0 w 269"/>
                    <a:gd name="T21" fmla="*/ 0 h 518"/>
                    <a:gd name="T22" fmla="*/ 0 w 269"/>
                    <a:gd name="T23" fmla="*/ 0 h 518"/>
                    <a:gd name="T24" fmla="*/ 0 w 269"/>
                    <a:gd name="T25" fmla="*/ 0 h 518"/>
                    <a:gd name="T26" fmla="*/ 0 w 269"/>
                    <a:gd name="T27" fmla="*/ 0 h 518"/>
                    <a:gd name="T28" fmla="*/ 0 w 269"/>
                    <a:gd name="T29" fmla="*/ 0 h 518"/>
                    <a:gd name="T30" fmla="*/ 0 w 269"/>
                    <a:gd name="T31" fmla="*/ 0 h 518"/>
                    <a:gd name="T32" fmla="*/ 0 w 269"/>
                    <a:gd name="T33" fmla="*/ 0 h 518"/>
                    <a:gd name="T34" fmla="*/ 0 w 269"/>
                    <a:gd name="T35" fmla="*/ 0 h 518"/>
                    <a:gd name="T36" fmla="*/ 0 w 269"/>
                    <a:gd name="T37" fmla="*/ 0 h 518"/>
                    <a:gd name="T38" fmla="*/ 0 w 269"/>
                    <a:gd name="T39" fmla="*/ 0 h 518"/>
                    <a:gd name="T40" fmla="*/ 0 w 269"/>
                    <a:gd name="T41" fmla="*/ 0 h 518"/>
                    <a:gd name="T42" fmla="*/ 0 w 269"/>
                    <a:gd name="T43" fmla="*/ 0 h 518"/>
                    <a:gd name="T44" fmla="*/ 0 w 269"/>
                    <a:gd name="T45" fmla="*/ 0 h 518"/>
                    <a:gd name="T46" fmla="*/ 0 w 269"/>
                    <a:gd name="T47" fmla="*/ 0 h 518"/>
                    <a:gd name="T48" fmla="*/ 0 w 269"/>
                    <a:gd name="T49" fmla="*/ 0 h 518"/>
                    <a:gd name="T50" fmla="*/ 0 w 269"/>
                    <a:gd name="T51" fmla="*/ 0 h 518"/>
                    <a:gd name="T52" fmla="*/ 0 w 269"/>
                    <a:gd name="T53" fmla="*/ 0 h 518"/>
                    <a:gd name="T54" fmla="*/ 0 w 269"/>
                    <a:gd name="T55" fmla="*/ 0 h 518"/>
                    <a:gd name="T56" fmla="*/ 0 w 269"/>
                    <a:gd name="T57" fmla="*/ 0 h 518"/>
                    <a:gd name="T58" fmla="*/ 0 w 269"/>
                    <a:gd name="T59" fmla="*/ 0 h 518"/>
                    <a:gd name="T60" fmla="*/ 0 w 269"/>
                    <a:gd name="T61" fmla="*/ 0 h 518"/>
                    <a:gd name="T62" fmla="*/ 0 w 269"/>
                    <a:gd name="T63" fmla="*/ 0 h 518"/>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269"/>
                    <a:gd name="T97" fmla="*/ 0 h 518"/>
                    <a:gd name="T98" fmla="*/ 269 w 269"/>
                    <a:gd name="T99" fmla="*/ 518 h 518"/>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269" h="518">
                      <a:moveTo>
                        <a:pt x="239" y="114"/>
                      </a:moveTo>
                      <a:lnTo>
                        <a:pt x="256" y="158"/>
                      </a:lnTo>
                      <a:lnTo>
                        <a:pt x="266" y="205"/>
                      </a:lnTo>
                      <a:lnTo>
                        <a:pt x="269" y="254"/>
                      </a:lnTo>
                      <a:lnTo>
                        <a:pt x="267" y="303"/>
                      </a:lnTo>
                      <a:lnTo>
                        <a:pt x="257" y="350"/>
                      </a:lnTo>
                      <a:lnTo>
                        <a:pt x="242" y="397"/>
                      </a:lnTo>
                      <a:lnTo>
                        <a:pt x="220" y="438"/>
                      </a:lnTo>
                      <a:lnTo>
                        <a:pt x="192" y="476"/>
                      </a:lnTo>
                      <a:lnTo>
                        <a:pt x="181" y="486"/>
                      </a:lnTo>
                      <a:lnTo>
                        <a:pt x="166" y="494"/>
                      </a:lnTo>
                      <a:lnTo>
                        <a:pt x="149" y="503"/>
                      </a:lnTo>
                      <a:lnTo>
                        <a:pt x="131" y="510"/>
                      </a:lnTo>
                      <a:lnTo>
                        <a:pt x="114" y="515"/>
                      </a:lnTo>
                      <a:lnTo>
                        <a:pt x="100" y="518"/>
                      </a:lnTo>
                      <a:lnTo>
                        <a:pt x="89" y="518"/>
                      </a:lnTo>
                      <a:lnTo>
                        <a:pt x="85" y="516"/>
                      </a:lnTo>
                      <a:lnTo>
                        <a:pt x="89" y="510"/>
                      </a:lnTo>
                      <a:lnTo>
                        <a:pt x="99" y="501"/>
                      </a:lnTo>
                      <a:lnTo>
                        <a:pt x="112" y="491"/>
                      </a:lnTo>
                      <a:lnTo>
                        <a:pt x="127" y="480"/>
                      </a:lnTo>
                      <a:lnTo>
                        <a:pt x="144" y="468"/>
                      </a:lnTo>
                      <a:lnTo>
                        <a:pt x="160" y="456"/>
                      </a:lnTo>
                      <a:lnTo>
                        <a:pt x="173" y="444"/>
                      </a:lnTo>
                      <a:lnTo>
                        <a:pt x="181" y="435"/>
                      </a:lnTo>
                      <a:lnTo>
                        <a:pt x="194" y="401"/>
                      </a:lnTo>
                      <a:lnTo>
                        <a:pt x="205" y="367"/>
                      </a:lnTo>
                      <a:lnTo>
                        <a:pt x="212" y="330"/>
                      </a:lnTo>
                      <a:lnTo>
                        <a:pt x="217" y="293"/>
                      </a:lnTo>
                      <a:lnTo>
                        <a:pt x="219" y="255"/>
                      </a:lnTo>
                      <a:lnTo>
                        <a:pt x="217" y="217"/>
                      </a:lnTo>
                      <a:lnTo>
                        <a:pt x="213" y="180"/>
                      </a:lnTo>
                      <a:lnTo>
                        <a:pt x="205" y="144"/>
                      </a:lnTo>
                      <a:lnTo>
                        <a:pt x="203" y="135"/>
                      </a:lnTo>
                      <a:lnTo>
                        <a:pt x="200" y="124"/>
                      </a:lnTo>
                      <a:lnTo>
                        <a:pt x="197" y="114"/>
                      </a:lnTo>
                      <a:lnTo>
                        <a:pt x="192" y="106"/>
                      </a:lnTo>
                      <a:lnTo>
                        <a:pt x="187" y="97"/>
                      </a:lnTo>
                      <a:lnTo>
                        <a:pt x="181" y="88"/>
                      </a:lnTo>
                      <a:lnTo>
                        <a:pt x="175" y="81"/>
                      </a:lnTo>
                      <a:lnTo>
                        <a:pt x="168" y="73"/>
                      </a:lnTo>
                      <a:lnTo>
                        <a:pt x="144" y="55"/>
                      </a:lnTo>
                      <a:lnTo>
                        <a:pt x="118" y="42"/>
                      </a:lnTo>
                      <a:lnTo>
                        <a:pt x="89" y="33"/>
                      </a:lnTo>
                      <a:lnTo>
                        <a:pt x="63" y="27"/>
                      </a:lnTo>
                      <a:lnTo>
                        <a:pt x="38" y="25"/>
                      </a:lnTo>
                      <a:lnTo>
                        <a:pt x="18" y="25"/>
                      </a:lnTo>
                      <a:lnTo>
                        <a:pt x="5" y="25"/>
                      </a:lnTo>
                      <a:lnTo>
                        <a:pt x="0" y="25"/>
                      </a:lnTo>
                      <a:lnTo>
                        <a:pt x="17" y="13"/>
                      </a:lnTo>
                      <a:lnTo>
                        <a:pt x="35" y="6"/>
                      </a:lnTo>
                      <a:lnTo>
                        <a:pt x="55" y="1"/>
                      </a:lnTo>
                      <a:lnTo>
                        <a:pt x="75" y="0"/>
                      </a:lnTo>
                      <a:lnTo>
                        <a:pt x="95" y="2"/>
                      </a:lnTo>
                      <a:lnTo>
                        <a:pt x="116" y="6"/>
                      </a:lnTo>
                      <a:lnTo>
                        <a:pt x="135" y="12"/>
                      </a:lnTo>
                      <a:lnTo>
                        <a:pt x="152" y="19"/>
                      </a:lnTo>
                      <a:lnTo>
                        <a:pt x="166" y="29"/>
                      </a:lnTo>
                      <a:lnTo>
                        <a:pt x="179" y="38"/>
                      </a:lnTo>
                      <a:lnTo>
                        <a:pt x="191" y="49"/>
                      </a:lnTo>
                      <a:lnTo>
                        <a:pt x="203" y="61"/>
                      </a:lnTo>
                      <a:lnTo>
                        <a:pt x="213" y="74"/>
                      </a:lnTo>
                      <a:lnTo>
                        <a:pt x="223" y="87"/>
                      </a:lnTo>
                      <a:lnTo>
                        <a:pt x="232" y="100"/>
                      </a:lnTo>
                      <a:lnTo>
                        <a:pt x="239" y="114"/>
                      </a:lnTo>
                      <a:close/>
                    </a:path>
                  </a:pathLst>
                </a:custGeom>
                <a:solidFill>
                  <a:srgbClr val="000000"/>
                </a:solidFill>
                <a:ln w="9525">
                  <a:noFill/>
                  <a:round/>
                  <a:headEnd/>
                  <a:tailEnd/>
                </a:ln>
              </p:spPr>
              <p:txBody>
                <a:bodyPr/>
                <a:lstStyle/>
                <a:p>
                  <a:endParaRPr lang="ja-JP" altLang="en-US" sz="1600" b="1">
                    <a:latin typeface="Times New Roman" charset="0"/>
                    <a:cs typeface="Times New Roman" charset="0"/>
                  </a:endParaRPr>
                </a:p>
              </p:txBody>
            </p:sp>
            <p:sp>
              <p:nvSpPr>
                <p:cNvPr id="46154" name="Freeform 146"/>
                <p:cNvSpPr>
                  <a:spLocks/>
                </p:cNvSpPr>
                <p:nvPr/>
              </p:nvSpPr>
              <p:spPr bwMode="auto">
                <a:xfrm>
                  <a:off x="4907" y="3326"/>
                  <a:ext cx="110" cy="121"/>
                </a:xfrm>
                <a:custGeom>
                  <a:avLst/>
                  <a:gdLst>
                    <a:gd name="T0" fmla="*/ 0 w 664"/>
                    <a:gd name="T1" fmla="*/ 0 h 723"/>
                    <a:gd name="T2" fmla="*/ 0 w 664"/>
                    <a:gd name="T3" fmla="*/ 0 h 723"/>
                    <a:gd name="T4" fmla="*/ 0 w 664"/>
                    <a:gd name="T5" fmla="*/ 0 h 723"/>
                    <a:gd name="T6" fmla="*/ 0 w 664"/>
                    <a:gd name="T7" fmla="*/ 0 h 723"/>
                    <a:gd name="T8" fmla="*/ 0 w 664"/>
                    <a:gd name="T9" fmla="*/ 0 h 723"/>
                    <a:gd name="T10" fmla="*/ 0 w 664"/>
                    <a:gd name="T11" fmla="*/ 0 h 723"/>
                    <a:gd name="T12" fmla="*/ 0 w 664"/>
                    <a:gd name="T13" fmla="*/ 0 h 723"/>
                    <a:gd name="T14" fmla="*/ 0 w 664"/>
                    <a:gd name="T15" fmla="*/ 0 h 723"/>
                    <a:gd name="T16" fmla="*/ 0 w 664"/>
                    <a:gd name="T17" fmla="*/ 0 h 723"/>
                    <a:gd name="T18" fmla="*/ 0 w 664"/>
                    <a:gd name="T19" fmla="*/ 0 h 723"/>
                    <a:gd name="T20" fmla="*/ 0 w 664"/>
                    <a:gd name="T21" fmla="*/ 0 h 723"/>
                    <a:gd name="T22" fmla="*/ 0 w 664"/>
                    <a:gd name="T23" fmla="*/ 0 h 723"/>
                    <a:gd name="T24" fmla="*/ 0 w 664"/>
                    <a:gd name="T25" fmla="*/ 0 h 723"/>
                    <a:gd name="T26" fmla="*/ 0 w 664"/>
                    <a:gd name="T27" fmla="*/ 0 h 723"/>
                    <a:gd name="T28" fmla="*/ 0 w 664"/>
                    <a:gd name="T29" fmla="*/ 0 h 723"/>
                    <a:gd name="T30" fmla="*/ 0 w 664"/>
                    <a:gd name="T31" fmla="*/ 0 h 723"/>
                    <a:gd name="T32" fmla="*/ 0 w 664"/>
                    <a:gd name="T33" fmla="*/ 0 h 723"/>
                    <a:gd name="T34" fmla="*/ 0 w 664"/>
                    <a:gd name="T35" fmla="*/ 0 h 723"/>
                    <a:gd name="T36" fmla="*/ 0 w 664"/>
                    <a:gd name="T37" fmla="*/ 0 h 723"/>
                    <a:gd name="T38" fmla="*/ 0 w 664"/>
                    <a:gd name="T39" fmla="*/ 0 h 723"/>
                    <a:gd name="T40" fmla="*/ 0 w 664"/>
                    <a:gd name="T41" fmla="*/ 0 h 723"/>
                    <a:gd name="T42" fmla="*/ 0 w 664"/>
                    <a:gd name="T43" fmla="*/ 0 h 723"/>
                    <a:gd name="T44" fmla="*/ 0 w 664"/>
                    <a:gd name="T45" fmla="*/ 0 h 723"/>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664"/>
                    <a:gd name="T70" fmla="*/ 0 h 723"/>
                    <a:gd name="T71" fmla="*/ 664 w 664"/>
                    <a:gd name="T72" fmla="*/ 723 h 723"/>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664" h="723">
                      <a:moveTo>
                        <a:pt x="664" y="3"/>
                      </a:moveTo>
                      <a:lnTo>
                        <a:pt x="664" y="111"/>
                      </a:lnTo>
                      <a:lnTo>
                        <a:pt x="664" y="345"/>
                      </a:lnTo>
                      <a:lnTo>
                        <a:pt x="660" y="582"/>
                      </a:lnTo>
                      <a:lnTo>
                        <a:pt x="650" y="691"/>
                      </a:lnTo>
                      <a:lnTo>
                        <a:pt x="645" y="691"/>
                      </a:lnTo>
                      <a:lnTo>
                        <a:pt x="628" y="692"/>
                      </a:lnTo>
                      <a:lnTo>
                        <a:pt x="603" y="694"/>
                      </a:lnTo>
                      <a:lnTo>
                        <a:pt x="568" y="695"/>
                      </a:lnTo>
                      <a:lnTo>
                        <a:pt x="529" y="699"/>
                      </a:lnTo>
                      <a:lnTo>
                        <a:pt x="482" y="701"/>
                      </a:lnTo>
                      <a:lnTo>
                        <a:pt x="434" y="705"/>
                      </a:lnTo>
                      <a:lnTo>
                        <a:pt x="381" y="707"/>
                      </a:lnTo>
                      <a:lnTo>
                        <a:pt x="329" y="711"/>
                      </a:lnTo>
                      <a:lnTo>
                        <a:pt x="275" y="713"/>
                      </a:lnTo>
                      <a:lnTo>
                        <a:pt x="224" y="717"/>
                      </a:lnTo>
                      <a:lnTo>
                        <a:pt x="175" y="719"/>
                      </a:lnTo>
                      <a:lnTo>
                        <a:pt x="131" y="720"/>
                      </a:lnTo>
                      <a:lnTo>
                        <a:pt x="92" y="722"/>
                      </a:lnTo>
                      <a:lnTo>
                        <a:pt x="60" y="723"/>
                      </a:lnTo>
                      <a:lnTo>
                        <a:pt x="36" y="723"/>
                      </a:lnTo>
                      <a:lnTo>
                        <a:pt x="0" y="0"/>
                      </a:lnTo>
                      <a:lnTo>
                        <a:pt x="664" y="3"/>
                      </a:lnTo>
                      <a:close/>
                    </a:path>
                  </a:pathLst>
                </a:custGeom>
                <a:solidFill>
                  <a:srgbClr val="000000"/>
                </a:solidFill>
                <a:ln w="9525">
                  <a:noFill/>
                  <a:round/>
                  <a:headEnd/>
                  <a:tailEnd/>
                </a:ln>
              </p:spPr>
              <p:txBody>
                <a:bodyPr/>
                <a:lstStyle/>
                <a:p>
                  <a:endParaRPr lang="ja-JP" altLang="en-US" sz="1600" b="1">
                    <a:latin typeface="Times New Roman" charset="0"/>
                    <a:cs typeface="Times New Roman" charset="0"/>
                  </a:endParaRPr>
                </a:p>
              </p:txBody>
            </p:sp>
            <p:sp>
              <p:nvSpPr>
                <p:cNvPr id="46155" name="Freeform 147"/>
                <p:cNvSpPr>
                  <a:spLocks/>
                </p:cNvSpPr>
                <p:nvPr/>
              </p:nvSpPr>
              <p:spPr bwMode="auto">
                <a:xfrm>
                  <a:off x="5151" y="3325"/>
                  <a:ext cx="41" cy="75"/>
                </a:xfrm>
                <a:custGeom>
                  <a:avLst/>
                  <a:gdLst>
                    <a:gd name="T0" fmla="*/ 0 w 241"/>
                    <a:gd name="T1" fmla="*/ 0 h 449"/>
                    <a:gd name="T2" fmla="*/ 0 w 241"/>
                    <a:gd name="T3" fmla="*/ 0 h 449"/>
                    <a:gd name="T4" fmla="*/ 0 w 241"/>
                    <a:gd name="T5" fmla="*/ 0 h 449"/>
                    <a:gd name="T6" fmla="*/ 0 w 241"/>
                    <a:gd name="T7" fmla="*/ 0 h 449"/>
                    <a:gd name="T8" fmla="*/ 0 w 241"/>
                    <a:gd name="T9" fmla="*/ 0 h 449"/>
                    <a:gd name="T10" fmla="*/ 0 w 241"/>
                    <a:gd name="T11" fmla="*/ 0 h 449"/>
                    <a:gd name="T12" fmla="*/ 0 w 241"/>
                    <a:gd name="T13" fmla="*/ 0 h 449"/>
                    <a:gd name="T14" fmla="*/ 0 w 241"/>
                    <a:gd name="T15" fmla="*/ 0 h 449"/>
                    <a:gd name="T16" fmla="*/ 0 w 241"/>
                    <a:gd name="T17" fmla="*/ 0 h 449"/>
                    <a:gd name="T18" fmla="*/ 0 w 241"/>
                    <a:gd name="T19" fmla="*/ 0 h 449"/>
                    <a:gd name="T20" fmla="*/ 0 w 241"/>
                    <a:gd name="T21" fmla="*/ 0 h 449"/>
                    <a:gd name="T22" fmla="*/ 0 w 241"/>
                    <a:gd name="T23" fmla="*/ 0 h 449"/>
                    <a:gd name="T24" fmla="*/ 0 w 241"/>
                    <a:gd name="T25" fmla="*/ 0 h 449"/>
                    <a:gd name="T26" fmla="*/ 0 w 241"/>
                    <a:gd name="T27" fmla="*/ 0 h 449"/>
                    <a:gd name="T28" fmla="*/ 0 w 241"/>
                    <a:gd name="T29" fmla="*/ 0 h 449"/>
                    <a:gd name="T30" fmla="*/ 0 w 241"/>
                    <a:gd name="T31" fmla="*/ 0 h 449"/>
                    <a:gd name="T32" fmla="*/ 0 w 241"/>
                    <a:gd name="T33" fmla="*/ 0 h 449"/>
                    <a:gd name="T34" fmla="*/ 0 w 241"/>
                    <a:gd name="T35" fmla="*/ 0 h 449"/>
                    <a:gd name="T36" fmla="*/ 0 w 241"/>
                    <a:gd name="T37" fmla="*/ 0 h 449"/>
                    <a:gd name="T38" fmla="*/ 0 w 241"/>
                    <a:gd name="T39" fmla="*/ 0 h 449"/>
                    <a:gd name="T40" fmla="*/ 0 w 241"/>
                    <a:gd name="T41" fmla="*/ 0 h 449"/>
                    <a:gd name="T42" fmla="*/ 0 w 241"/>
                    <a:gd name="T43" fmla="*/ 0 h 449"/>
                    <a:gd name="T44" fmla="*/ 0 w 241"/>
                    <a:gd name="T45" fmla="*/ 0 h 449"/>
                    <a:gd name="T46" fmla="*/ 0 w 241"/>
                    <a:gd name="T47" fmla="*/ 0 h 449"/>
                    <a:gd name="T48" fmla="*/ 0 w 241"/>
                    <a:gd name="T49" fmla="*/ 0 h 449"/>
                    <a:gd name="T50" fmla="*/ 0 w 241"/>
                    <a:gd name="T51" fmla="*/ 0 h 449"/>
                    <a:gd name="T52" fmla="*/ 0 w 241"/>
                    <a:gd name="T53" fmla="*/ 0 h 449"/>
                    <a:gd name="T54" fmla="*/ 0 w 241"/>
                    <a:gd name="T55" fmla="*/ 0 h 449"/>
                    <a:gd name="T56" fmla="*/ 0 w 241"/>
                    <a:gd name="T57" fmla="*/ 0 h 449"/>
                    <a:gd name="T58" fmla="*/ 0 w 241"/>
                    <a:gd name="T59" fmla="*/ 0 h 449"/>
                    <a:gd name="T60" fmla="*/ 0 w 241"/>
                    <a:gd name="T61" fmla="*/ 0 h 449"/>
                    <a:gd name="T62" fmla="*/ 0 w 241"/>
                    <a:gd name="T63" fmla="*/ 0 h 449"/>
                    <a:gd name="T64" fmla="*/ 0 w 241"/>
                    <a:gd name="T65" fmla="*/ 0 h 449"/>
                    <a:gd name="T66" fmla="*/ 0 w 241"/>
                    <a:gd name="T67" fmla="*/ 0 h 449"/>
                    <a:gd name="T68" fmla="*/ 0 w 241"/>
                    <a:gd name="T69" fmla="*/ 0 h 449"/>
                    <a:gd name="T70" fmla="*/ 0 w 241"/>
                    <a:gd name="T71" fmla="*/ 0 h 449"/>
                    <a:gd name="T72" fmla="*/ 0 w 241"/>
                    <a:gd name="T73" fmla="*/ 0 h 449"/>
                    <a:gd name="T74" fmla="*/ 0 w 241"/>
                    <a:gd name="T75" fmla="*/ 0 h 449"/>
                    <a:gd name="T76" fmla="*/ 0 w 241"/>
                    <a:gd name="T77" fmla="*/ 0 h 449"/>
                    <a:gd name="T78" fmla="*/ 0 w 241"/>
                    <a:gd name="T79" fmla="*/ 0 h 449"/>
                    <a:gd name="T80" fmla="*/ 0 w 241"/>
                    <a:gd name="T81" fmla="*/ 0 h 449"/>
                    <a:gd name="T82" fmla="*/ 0 w 241"/>
                    <a:gd name="T83" fmla="*/ 0 h 449"/>
                    <a:gd name="T84" fmla="*/ 0 w 241"/>
                    <a:gd name="T85" fmla="*/ 0 h 449"/>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241"/>
                    <a:gd name="T130" fmla="*/ 0 h 449"/>
                    <a:gd name="T131" fmla="*/ 241 w 241"/>
                    <a:gd name="T132" fmla="*/ 449 h 449"/>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241" h="449">
                      <a:moveTo>
                        <a:pt x="138" y="152"/>
                      </a:moveTo>
                      <a:lnTo>
                        <a:pt x="142" y="169"/>
                      </a:lnTo>
                      <a:lnTo>
                        <a:pt x="142" y="185"/>
                      </a:lnTo>
                      <a:lnTo>
                        <a:pt x="139" y="202"/>
                      </a:lnTo>
                      <a:lnTo>
                        <a:pt x="135" y="218"/>
                      </a:lnTo>
                      <a:lnTo>
                        <a:pt x="126" y="233"/>
                      </a:lnTo>
                      <a:lnTo>
                        <a:pt x="118" y="247"/>
                      </a:lnTo>
                      <a:lnTo>
                        <a:pt x="107" y="262"/>
                      </a:lnTo>
                      <a:lnTo>
                        <a:pt x="95" y="275"/>
                      </a:lnTo>
                      <a:lnTo>
                        <a:pt x="89" y="278"/>
                      </a:lnTo>
                      <a:lnTo>
                        <a:pt x="82" y="281"/>
                      </a:lnTo>
                      <a:lnTo>
                        <a:pt x="76" y="283"/>
                      </a:lnTo>
                      <a:lnTo>
                        <a:pt x="69" y="284"/>
                      </a:lnTo>
                      <a:lnTo>
                        <a:pt x="62" y="284"/>
                      </a:lnTo>
                      <a:lnTo>
                        <a:pt x="54" y="284"/>
                      </a:lnTo>
                      <a:lnTo>
                        <a:pt x="43" y="284"/>
                      </a:lnTo>
                      <a:lnTo>
                        <a:pt x="32" y="282"/>
                      </a:lnTo>
                      <a:lnTo>
                        <a:pt x="37" y="288"/>
                      </a:lnTo>
                      <a:lnTo>
                        <a:pt x="42" y="293"/>
                      </a:lnTo>
                      <a:lnTo>
                        <a:pt x="48" y="297"/>
                      </a:lnTo>
                      <a:lnTo>
                        <a:pt x="54" y="301"/>
                      </a:lnTo>
                      <a:lnTo>
                        <a:pt x="61" y="305"/>
                      </a:lnTo>
                      <a:lnTo>
                        <a:pt x="68" y="307"/>
                      </a:lnTo>
                      <a:lnTo>
                        <a:pt x="75" y="308"/>
                      </a:lnTo>
                      <a:lnTo>
                        <a:pt x="82" y="309"/>
                      </a:lnTo>
                      <a:lnTo>
                        <a:pt x="91" y="308"/>
                      </a:lnTo>
                      <a:lnTo>
                        <a:pt x="100" y="306"/>
                      </a:lnTo>
                      <a:lnTo>
                        <a:pt x="111" y="305"/>
                      </a:lnTo>
                      <a:lnTo>
                        <a:pt x="122" y="305"/>
                      </a:lnTo>
                      <a:lnTo>
                        <a:pt x="132" y="305"/>
                      </a:lnTo>
                      <a:lnTo>
                        <a:pt x="141" y="305"/>
                      </a:lnTo>
                      <a:lnTo>
                        <a:pt x="148" y="307"/>
                      </a:lnTo>
                      <a:lnTo>
                        <a:pt x="151" y="309"/>
                      </a:lnTo>
                      <a:lnTo>
                        <a:pt x="151" y="326"/>
                      </a:lnTo>
                      <a:lnTo>
                        <a:pt x="149" y="340"/>
                      </a:lnTo>
                      <a:lnTo>
                        <a:pt x="144" y="355"/>
                      </a:lnTo>
                      <a:lnTo>
                        <a:pt x="136" y="368"/>
                      </a:lnTo>
                      <a:lnTo>
                        <a:pt x="126" y="381"/>
                      </a:lnTo>
                      <a:lnTo>
                        <a:pt x="116" y="391"/>
                      </a:lnTo>
                      <a:lnTo>
                        <a:pt x="105" y="401"/>
                      </a:lnTo>
                      <a:lnTo>
                        <a:pt x="93" y="409"/>
                      </a:lnTo>
                      <a:lnTo>
                        <a:pt x="102" y="413"/>
                      </a:lnTo>
                      <a:lnTo>
                        <a:pt x="113" y="414"/>
                      </a:lnTo>
                      <a:lnTo>
                        <a:pt x="124" y="414"/>
                      </a:lnTo>
                      <a:lnTo>
                        <a:pt x="133" y="413"/>
                      </a:lnTo>
                      <a:lnTo>
                        <a:pt x="144" y="411"/>
                      </a:lnTo>
                      <a:lnTo>
                        <a:pt x="154" y="407"/>
                      </a:lnTo>
                      <a:lnTo>
                        <a:pt x="163" y="402"/>
                      </a:lnTo>
                      <a:lnTo>
                        <a:pt x="172" y="397"/>
                      </a:lnTo>
                      <a:lnTo>
                        <a:pt x="180" y="391"/>
                      </a:lnTo>
                      <a:lnTo>
                        <a:pt x="186" y="384"/>
                      </a:lnTo>
                      <a:lnTo>
                        <a:pt x="193" y="376"/>
                      </a:lnTo>
                      <a:lnTo>
                        <a:pt x="199" y="368"/>
                      </a:lnTo>
                      <a:lnTo>
                        <a:pt x="206" y="359"/>
                      </a:lnTo>
                      <a:lnTo>
                        <a:pt x="213" y="351"/>
                      </a:lnTo>
                      <a:lnTo>
                        <a:pt x="222" y="345"/>
                      </a:lnTo>
                      <a:lnTo>
                        <a:pt x="232" y="340"/>
                      </a:lnTo>
                      <a:lnTo>
                        <a:pt x="237" y="350"/>
                      </a:lnTo>
                      <a:lnTo>
                        <a:pt x="241" y="361"/>
                      </a:lnTo>
                      <a:lnTo>
                        <a:pt x="241" y="370"/>
                      </a:lnTo>
                      <a:lnTo>
                        <a:pt x="238" y="381"/>
                      </a:lnTo>
                      <a:lnTo>
                        <a:pt x="228" y="397"/>
                      </a:lnTo>
                      <a:lnTo>
                        <a:pt x="214" y="411"/>
                      </a:lnTo>
                      <a:lnTo>
                        <a:pt x="200" y="421"/>
                      </a:lnTo>
                      <a:lnTo>
                        <a:pt x="185" y="430"/>
                      </a:lnTo>
                      <a:lnTo>
                        <a:pt x="167" y="437"/>
                      </a:lnTo>
                      <a:lnTo>
                        <a:pt x="149" y="442"/>
                      </a:lnTo>
                      <a:lnTo>
                        <a:pt x="131" y="445"/>
                      </a:lnTo>
                      <a:lnTo>
                        <a:pt x="113" y="449"/>
                      </a:lnTo>
                      <a:lnTo>
                        <a:pt x="105" y="445"/>
                      </a:lnTo>
                      <a:lnTo>
                        <a:pt x="97" y="442"/>
                      </a:lnTo>
                      <a:lnTo>
                        <a:pt x="88" y="438"/>
                      </a:lnTo>
                      <a:lnTo>
                        <a:pt x="79" y="434"/>
                      </a:lnTo>
                      <a:lnTo>
                        <a:pt x="70" y="431"/>
                      </a:lnTo>
                      <a:lnTo>
                        <a:pt x="62" y="425"/>
                      </a:lnTo>
                      <a:lnTo>
                        <a:pt x="55" y="419"/>
                      </a:lnTo>
                      <a:lnTo>
                        <a:pt x="48" y="411"/>
                      </a:lnTo>
                      <a:lnTo>
                        <a:pt x="50" y="406"/>
                      </a:lnTo>
                      <a:lnTo>
                        <a:pt x="54" y="403"/>
                      </a:lnTo>
                      <a:lnTo>
                        <a:pt x="58" y="401"/>
                      </a:lnTo>
                      <a:lnTo>
                        <a:pt x="63" y="400"/>
                      </a:lnTo>
                      <a:lnTo>
                        <a:pt x="69" y="399"/>
                      </a:lnTo>
                      <a:lnTo>
                        <a:pt x="75" y="397"/>
                      </a:lnTo>
                      <a:lnTo>
                        <a:pt x="80" y="396"/>
                      </a:lnTo>
                      <a:lnTo>
                        <a:pt x="85" y="394"/>
                      </a:lnTo>
                      <a:lnTo>
                        <a:pt x="97" y="382"/>
                      </a:lnTo>
                      <a:lnTo>
                        <a:pt x="107" y="370"/>
                      </a:lnTo>
                      <a:lnTo>
                        <a:pt x="116" y="357"/>
                      </a:lnTo>
                      <a:lnTo>
                        <a:pt x="119" y="343"/>
                      </a:lnTo>
                      <a:lnTo>
                        <a:pt x="107" y="346"/>
                      </a:lnTo>
                      <a:lnTo>
                        <a:pt x="94" y="346"/>
                      </a:lnTo>
                      <a:lnTo>
                        <a:pt x="82" y="345"/>
                      </a:lnTo>
                      <a:lnTo>
                        <a:pt x="70" y="340"/>
                      </a:lnTo>
                      <a:lnTo>
                        <a:pt x="58" y="335"/>
                      </a:lnTo>
                      <a:lnTo>
                        <a:pt x="46" y="328"/>
                      </a:lnTo>
                      <a:lnTo>
                        <a:pt x="36" y="320"/>
                      </a:lnTo>
                      <a:lnTo>
                        <a:pt x="25" y="310"/>
                      </a:lnTo>
                      <a:lnTo>
                        <a:pt x="11" y="291"/>
                      </a:lnTo>
                      <a:lnTo>
                        <a:pt x="2" y="269"/>
                      </a:lnTo>
                      <a:lnTo>
                        <a:pt x="0" y="245"/>
                      </a:lnTo>
                      <a:lnTo>
                        <a:pt x="6" y="222"/>
                      </a:lnTo>
                      <a:lnTo>
                        <a:pt x="13" y="225"/>
                      </a:lnTo>
                      <a:lnTo>
                        <a:pt x="17" y="231"/>
                      </a:lnTo>
                      <a:lnTo>
                        <a:pt x="19" y="238"/>
                      </a:lnTo>
                      <a:lnTo>
                        <a:pt x="21" y="246"/>
                      </a:lnTo>
                      <a:lnTo>
                        <a:pt x="24" y="253"/>
                      </a:lnTo>
                      <a:lnTo>
                        <a:pt x="29" y="260"/>
                      </a:lnTo>
                      <a:lnTo>
                        <a:pt x="35" y="264"/>
                      </a:lnTo>
                      <a:lnTo>
                        <a:pt x="45" y="265"/>
                      </a:lnTo>
                      <a:lnTo>
                        <a:pt x="50" y="265"/>
                      </a:lnTo>
                      <a:lnTo>
                        <a:pt x="55" y="265"/>
                      </a:lnTo>
                      <a:lnTo>
                        <a:pt x="60" y="265"/>
                      </a:lnTo>
                      <a:lnTo>
                        <a:pt x="66" y="265"/>
                      </a:lnTo>
                      <a:lnTo>
                        <a:pt x="70" y="264"/>
                      </a:lnTo>
                      <a:lnTo>
                        <a:pt x="76" y="262"/>
                      </a:lnTo>
                      <a:lnTo>
                        <a:pt x="81" y="259"/>
                      </a:lnTo>
                      <a:lnTo>
                        <a:pt x="85" y="256"/>
                      </a:lnTo>
                      <a:lnTo>
                        <a:pt x="100" y="222"/>
                      </a:lnTo>
                      <a:lnTo>
                        <a:pt x="100" y="188"/>
                      </a:lnTo>
                      <a:lnTo>
                        <a:pt x="91" y="153"/>
                      </a:lnTo>
                      <a:lnTo>
                        <a:pt x="77" y="118"/>
                      </a:lnTo>
                      <a:lnTo>
                        <a:pt x="68" y="84"/>
                      </a:lnTo>
                      <a:lnTo>
                        <a:pt x="68" y="52"/>
                      </a:lnTo>
                      <a:lnTo>
                        <a:pt x="82" y="23"/>
                      </a:lnTo>
                      <a:lnTo>
                        <a:pt x="119" y="0"/>
                      </a:lnTo>
                      <a:lnTo>
                        <a:pt x="122" y="16"/>
                      </a:lnTo>
                      <a:lnTo>
                        <a:pt x="126" y="58"/>
                      </a:lnTo>
                      <a:lnTo>
                        <a:pt x="132" y="108"/>
                      </a:lnTo>
                      <a:lnTo>
                        <a:pt x="138" y="152"/>
                      </a:lnTo>
                      <a:close/>
                    </a:path>
                  </a:pathLst>
                </a:custGeom>
                <a:solidFill>
                  <a:srgbClr val="000000"/>
                </a:solidFill>
                <a:ln w="9525">
                  <a:noFill/>
                  <a:round/>
                  <a:headEnd/>
                  <a:tailEnd/>
                </a:ln>
              </p:spPr>
              <p:txBody>
                <a:bodyPr/>
                <a:lstStyle/>
                <a:p>
                  <a:endParaRPr lang="ja-JP" altLang="en-US" sz="1600" b="1">
                    <a:latin typeface="Times New Roman" charset="0"/>
                    <a:cs typeface="Times New Roman" charset="0"/>
                  </a:endParaRPr>
                </a:p>
              </p:txBody>
            </p:sp>
            <p:sp>
              <p:nvSpPr>
                <p:cNvPr id="46156" name="Freeform 148"/>
                <p:cNvSpPr>
                  <a:spLocks/>
                </p:cNvSpPr>
                <p:nvPr/>
              </p:nvSpPr>
              <p:spPr bwMode="auto">
                <a:xfrm>
                  <a:off x="4913" y="3330"/>
                  <a:ext cx="99" cy="113"/>
                </a:xfrm>
                <a:custGeom>
                  <a:avLst/>
                  <a:gdLst>
                    <a:gd name="T0" fmla="*/ 0 w 598"/>
                    <a:gd name="T1" fmla="*/ 0 h 677"/>
                    <a:gd name="T2" fmla="*/ 0 w 598"/>
                    <a:gd name="T3" fmla="*/ 0 h 677"/>
                    <a:gd name="T4" fmla="*/ 0 w 598"/>
                    <a:gd name="T5" fmla="*/ 0 h 677"/>
                    <a:gd name="T6" fmla="*/ 0 w 598"/>
                    <a:gd name="T7" fmla="*/ 0 h 677"/>
                    <a:gd name="T8" fmla="*/ 0 w 598"/>
                    <a:gd name="T9" fmla="*/ 0 h 677"/>
                    <a:gd name="T10" fmla="*/ 0 w 598"/>
                    <a:gd name="T11" fmla="*/ 0 h 677"/>
                    <a:gd name="T12" fmla="*/ 0 w 598"/>
                    <a:gd name="T13" fmla="*/ 0 h 677"/>
                    <a:gd name="T14" fmla="*/ 0 w 598"/>
                    <a:gd name="T15" fmla="*/ 0 h 677"/>
                    <a:gd name="T16" fmla="*/ 0 w 598"/>
                    <a:gd name="T17" fmla="*/ 0 h 677"/>
                    <a:gd name="T18" fmla="*/ 0 w 598"/>
                    <a:gd name="T19" fmla="*/ 0 h 677"/>
                    <a:gd name="T20" fmla="*/ 0 w 598"/>
                    <a:gd name="T21" fmla="*/ 0 h 677"/>
                    <a:gd name="T22" fmla="*/ 0 w 598"/>
                    <a:gd name="T23" fmla="*/ 0 h 677"/>
                    <a:gd name="T24" fmla="*/ 0 w 598"/>
                    <a:gd name="T25" fmla="*/ 0 h 677"/>
                    <a:gd name="T26" fmla="*/ 0 w 598"/>
                    <a:gd name="T27" fmla="*/ 0 h 677"/>
                    <a:gd name="T28" fmla="*/ 0 w 598"/>
                    <a:gd name="T29" fmla="*/ 0 h 677"/>
                    <a:gd name="T30" fmla="*/ 0 w 598"/>
                    <a:gd name="T31" fmla="*/ 0 h 677"/>
                    <a:gd name="T32" fmla="*/ 0 w 598"/>
                    <a:gd name="T33" fmla="*/ 0 h 677"/>
                    <a:gd name="T34" fmla="*/ 0 w 598"/>
                    <a:gd name="T35" fmla="*/ 0 h 677"/>
                    <a:gd name="T36" fmla="*/ 0 w 598"/>
                    <a:gd name="T37" fmla="*/ 0 h 677"/>
                    <a:gd name="T38" fmla="*/ 0 w 598"/>
                    <a:gd name="T39" fmla="*/ 0 h 677"/>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598"/>
                    <a:gd name="T61" fmla="*/ 0 h 677"/>
                    <a:gd name="T62" fmla="*/ 598 w 598"/>
                    <a:gd name="T63" fmla="*/ 677 h 677"/>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598" h="677">
                      <a:moveTo>
                        <a:pt x="588" y="643"/>
                      </a:moveTo>
                      <a:lnTo>
                        <a:pt x="565" y="646"/>
                      </a:lnTo>
                      <a:lnTo>
                        <a:pt x="535" y="647"/>
                      </a:lnTo>
                      <a:lnTo>
                        <a:pt x="498" y="651"/>
                      </a:lnTo>
                      <a:lnTo>
                        <a:pt x="456" y="653"/>
                      </a:lnTo>
                      <a:lnTo>
                        <a:pt x="412" y="655"/>
                      </a:lnTo>
                      <a:lnTo>
                        <a:pt x="364" y="658"/>
                      </a:lnTo>
                      <a:lnTo>
                        <a:pt x="316" y="661"/>
                      </a:lnTo>
                      <a:lnTo>
                        <a:pt x="267" y="664"/>
                      </a:lnTo>
                      <a:lnTo>
                        <a:pt x="220" y="666"/>
                      </a:lnTo>
                      <a:lnTo>
                        <a:pt x="175" y="668"/>
                      </a:lnTo>
                      <a:lnTo>
                        <a:pt x="133" y="671"/>
                      </a:lnTo>
                      <a:lnTo>
                        <a:pt x="98" y="673"/>
                      </a:lnTo>
                      <a:lnTo>
                        <a:pt x="67" y="674"/>
                      </a:lnTo>
                      <a:lnTo>
                        <a:pt x="44" y="676"/>
                      </a:lnTo>
                      <a:lnTo>
                        <a:pt x="28" y="677"/>
                      </a:lnTo>
                      <a:lnTo>
                        <a:pt x="24" y="677"/>
                      </a:lnTo>
                      <a:lnTo>
                        <a:pt x="0" y="0"/>
                      </a:lnTo>
                      <a:lnTo>
                        <a:pt x="598" y="9"/>
                      </a:lnTo>
                      <a:lnTo>
                        <a:pt x="588" y="643"/>
                      </a:lnTo>
                      <a:close/>
                    </a:path>
                  </a:pathLst>
                </a:custGeom>
                <a:solidFill>
                  <a:srgbClr val="26ADE8"/>
                </a:solidFill>
                <a:ln w="9525">
                  <a:noFill/>
                  <a:round/>
                  <a:headEnd/>
                  <a:tailEnd/>
                </a:ln>
              </p:spPr>
              <p:txBody>
                <a:bodyPr/>
                <a:lstStyle/>
                <a:p>
                  <a:endParaRPr lang="ja-JP" altLang="en-US" sz="1600" b="1">
                    <a:latin typeface="Times New Roman" charset="0"/>
                    <a:cs typeface="Times New Roman" charset="0"/>
                  </a:endParaRPr>
                </a:p>
              </p:txBody>
            </p:sp>
            <p:sp>
              <p:nvSpPr>
                <p:cNvPr id="46157" name="Freeform 149"/>
                <p:cNvSpPr>
                  <a:spLocks/>
                </p:cNvSpPr>
                <p:nvPr/>
              </p:nvSpPr>
              <p:spPr bwMode="auto">
                <a:xfrm>
                  <a:off x="4898" y="3456"/>
                  <a:ext cx="131" cy="39"/>
                </a:xfrm>
                <a:custGeom>
                  <a:avLst/>
                  <a:gdLst>
                    <a:gd name="T0" fmla="*/ 0 w 781"/>
                    <a:gd name="T1" fmla="*/ 0 h 234"/>
                    <a:gd name="T2" fmla="*/ 0 w 781"/>
                    <a:gd name="T3" fmla="*/ 0 h 234"/>
                    <a:gd name="T4" fmla="*/ 0 w 781"/>
                    <a:gd name="T5" fmla="*/ 0 h 234"/>
                    <a:gd name="T6" fmla="*/ 0 w 781"/>
                    <a:gd name="T7" fmla="*/ 0 h 234"/>
                    <a:gd name="T8" fmla="*/ 0 w 781"/>
                    <a:gd name="T9" fmla="*/ 0 h 234"/>
                    <a:gd name="T10" fmla="*/ 0 w 781"/>
                    <a:gd name="T11" fmla="*/ 0 h 234"/>
                    <a:gd name="T12" fmla="*/ 0 w 781"/>
                    <a:gd name="T13" fmla="*/ 0 h 234"/>
                    <a:gd name="T14" fmla="*/ 0 w 781"/>
                    <a:gd name="T15" fmla="*/ 0 h 234"/>
                    <a:gd name="T16" fmla="*/ 0 w 781"/>
                    <a:gd name="T17" fmla="*/ 0 h 234"/>
                    <a:gd name="T18" fmla="*/ 0 w 781"/>
                    <a:gd name="T19" fmla="*/ 0 h 234"/>
                    <a:gd name="T20" fmla="*/ 0 w 781"/>
                    <a:gd name="T21" fmla="*/ 0 h 234"/>
                    <a:gd name="T22" fmla="*/ 0 w 781"/>
                    <a:gd name="T23" fmla="*/ 0 h 234"/>
                    <a:gd name="T24" fmla="*/ 0 w 781"/>
                    <a:gd name="T25" fmla="*/ 0 h 234"/>
                    <a:gd name="T26" fmla="*/ 0 w 781"/>
                    <a:gd name="T27" fmla="*/ 0 h 234"/>
                    <a:gd name="T28" fmla="*/ 0 w 781"/>
                    <a:gd name="T29" fmla="*/ 0 h 234"/>
                    <a:gd name="T30" fmla="*/ 0 w 781"/>
                    <a:gd name="T31" fmla="*/ 0 h 234"/>
                    <a:gd name="T32" fmla="*/ 0 w 781"/>
                    <a:gd name="T33" fmla="*/ 0 h 234"/>
                    <a:gd name="T34" fmla="*/ 0 w 781"/>
                    <a:gd name="T35" fmla="*/ 0 h 234"/>
                    <a:gd name="T36" fmla="*/ 0 w 781"/>
                    <a:gd name="T37" fmla="*/ 0 h 234"/>
                    <a:gd name="T38" fmla="*/ 0 w 781"/>
                    <a:gd name="T39" fmla="*/ 0 h 234"/>
                    <a:gd name="T40" fmla="*/ 0 w 781"/>
                    <a:gd name="T41" fmla="*/ 0 h 234"/>
                    <a:gd name="T42" fmla="*/ 0 w 781"/>
                    <a:gd name="T43" fmla="*/ 0 h 234"/>
                    <a:gd name="T44" fmla="*/ 0 w 781"/>
                    <a:gd name="T45" fmla="*/ 0 h 234"/>
                    <a:gd name="T46" fmla="*/ 0 w 781"/>
                    <a:gd name="T47" fmla="*/ 0 h 234"/>
                    <a:gd name="T48" fmla="*/ 0 w 781"/>
                    <a:gd name="T49" fmla="*/ 0 h 234"/>
                    <a:gd name="T50" fmla="*/ 0 w 781"/>
                    <a:gd name="T51" fmla="*/ 0 h 234"/>
                    <a:gd name="T52" fmla="*/ 0 w 781"/>
                    <a:gd name="T53" fmla="*/ 0 h 234"/>
                    <a:gd name="T54" fmla="*/ 0 w 781"/>
                    <a:gd name="T55" fmla="*/ 0 h 234"/>
                    <a:gd name="T56" fmla="*/ 0 w 781"/>
                    <a:gd name="T57" fmla="*/ 0 h 234"/>
                    <a:gd name="T58" fmla="*/ 0 w 781"/>
                    <a:gd name="T59" fmla="*/ 0 h 234"/>
                    <a:gd name="T60" fmla="*/ 0 w 781"/>
                    <a:gd name="T61" fmla="*/ 0 h 234"/>
                    <a:gd name="T62" fmla="*/ 0 w 781"/>
                    <a:gd name="T63" fmla="*/ 0 h 234"/>
                    <a:gd name="T64" fmla="*/ 0 w 781"/>
                    <a:gd name="T65" fmla="*/ 0 h 234"/>
                    <a:gd name="T66" fmla="*/ 0 w 781"/>
                    <a:gd name="T67" fmla="*/ 0 h 234"/>
                    <a:gd name="T68" fmla="*/ 0 w 781"/>
                    <a:gd name="T69" fmla="*/ 0 h 234"/>
                    <a:gd name="T70" fmla="*/ 0 w 781"/>
                    <a:gd name="T71" fmla="*/ 0 h 234"/>
                    <a:gd name="T72" fmla="*/ 0 w 781"/>
                    <a:gd name="T73" fmla="*/ 0 h 234"/>
                    <a:gd name="T74" fmla="*/ 0 w 781"/>
                    <a:gd name="T75" fmla="*/ 0 h 234"/>
                    <a:gd name="T76" fmla="*/ 0 w 781"/>
                    <a:gd name="T77" fmla="*/ 0 h 234"/>
                    <a:gd name="T78" fmla="*/ 0 w 781"/>
                    <a:gd name="T79" fmla="*/ 0 h 234"/>
                    <a:gd name="T80" fmla="*/ 0 w 781"/>
                    <a:gd name="T81" fmla="*/ 0 h 234"/>
                    <a:gd name="T82" fmla="*/ 0 w 781"/>
                    <a:gd name="T83" fmla="*/ 0 h 234"/>
                    <a:gd name="T84" fmla="*/ 0 w 781"/>
                    <a:gd name="T85" fmla="*/ 0 h 234"/>
                    <a:gd name="T86" fmla="*/ 0 w 781"/>
                    <a:gd name="T87" fmla="*/ 0 h 234"/>
                    <a:gd name="T88" fmla="*/ 0 w 781"/>
                    <a:gd name="T89" fmla="*/ 0 h 234"/>
                    <a:gd name="T90" fmla="*/ 0 w 781"/>
                    <a:gd name="T91" fmla="*/ 0 h 234"/>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781"/>
                    <a:gd name="T139" fmla="*/ 0 h 234"/>
                    <a:gd name="T140" fmla="*/ 781 w 781"/>
                    <a:gd name="T141" fmla="*/ 234 h 234"/>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781" h="234">
                      <a:moveTo>
                        <a:pt x="781" y="6"/>
                      </a:moveTo>
                      <a:lnTo>
                        <a:pt x="779" y="7"/>
                      </a:lnTo>
                      <a:lnTo>
                        <a:pt x="774" y="10"/>
                      </a:lnTo>
                      <a:lnTo>
                        <a:pt x="766" y="15"/>
                      </a:lnTo>
                      <a:lnTo>
                        <a:pt x="754" y="21"/>
                      </a:lnTo>
                      <a:lnTo>
                        <a:pt x="740" y="28"/>
                      </a:lnTo>
                      <a:lnTo>
                        <a:pt x="723" y="36"/>
                      </a:lnTo>
                      <a:lnTo>
                        <a:pt x="705" y="44"/>
                      </a:lnTo>
                      <a:lnTo>
                        <a:pt x="686" y="53"/>
                      </a:lnTo>
                      <a:lnTo>
                        <a:pt x="665" y="61"/>
                      </a:lnTo>
                      <a:lnTo>
                        <a:pt x="643" y="69"/>
                      </a:lnTo>
                      <a:lnTo>
                        <a:pt x="622" y="77"/>
                      </a:lnTo>
                      <a:lnTo>
                        <a:pt x="599" y="84"/>
                      </a:lnTo>
                      <a:lnTo>
                        <a:pt x="578" y="90"/>
                      </a:lnTo>
                      <a:lnTo>
                        <a:pt x="556" y="93"/>
                      </a:lnTo>
                      <a:lnTo>
                        <a:pt x="536" y="96"/>
                      </a:lnTo>
                      <a:lnTo>
                        <a:pt x="517" y="96"/>
                      </a:lnTo>
                      <a:lnTo>
                        <a:pt x="503" y="133"/>
                      </a:lnTo>
                      <a:lnTo>
                        <a:pt x="494" y="179"/>
                      </a:lnTo>
                      <a:lnTo>
                        <a:pt x="491" y="217"/>
                      </a:lnTo>
                      <a:lnTo>
                        <a:pt x="491" y="234"/>
                      </a:lnTo>
                      <a:lnTo>
                        <a:pt x="473" y="214"/>
                      </a:lnTo>
                      <a:lnTo>
                        <a:pt x="467" y="186"/>
                      </a:lnTo>
                      <a:lnTo>
                        <a:pt x="468" y="156"/>
                      </a:lnTo>
                      <a:lnTo>
                        <a:pt x="473" y="128"/>
                      </a:lnTo>
                      <a:lnTo>
                        <a:pt x="475" y="121"/>
                      </a:lnTo>
                      <a:lnTo>
                        <a:pt x="479" y="112"/>
                      </a:lnTo>
                      <a:lnTo>
                        <a:pt x="482" y="105"/>
                      </a:lnTo>
                      <a:lnTo>
                        <a:pt x="486" y="99"/>
                      </a:lnTo>
                      <a:lnTo>
                        <a:pt x="492" y="93"/>
                      </a:lnTo>
                      <a:lnTo>
                        <a:pt x="498" y="87"/>
                      </a:lnTo>
                      <a:lnTo>
                        <a:pt x="504" y="84"/>
                      </a:lnTo>
                      <a:lnTo>
                        <a:pt x="512" y="80"/>
                      </a:lnTo>
                      <a:lnTo>
                        <a:pt x="522" y="80"/>
                      </a:lnTo>
                      <a:lnTo>
                        <a:pt x="537" y="78"/>
                      </a:lnTo>
                      <a:lnTo>
                        <a:pt x="559" y="72"/>
                      </a:lnTo>
                      <a:lnTo>
                        <a:pt x="584" y="65"/>
                      </a:lnTo>
                      <a:lnTo>
                        <a:pt x="610" y="56"/>
                      </a:lnTo>
                      <a:lnTo>
                        <a:pt x="635" y="48"/>
                      </a:lnTo>
                      <a:lnTo>
                        <a:pt x="658" y="40"/>
                      </a:lnTo>
                      <a:lnTo>
                        <a:pt x="675" y="35"/>
                      </a:lnTo>
                      <a:lnTo>
                        <a:pt x="658" y="34"/>
                      </a:lnTo>
                      <a:lnTo>
                        <a:pt x="629" y="35"/>
                      </a:lnTo>
                      <a:lnTo>
                        <a:pt x="593" y="36"/>
                      </a:lnTo>
                      <a:lnTo>
                        <a:pt x="549" y="38"/>
                      </a:lnTo>
                      <a:lnTo>
                        <a:pt x="499" y="42"/>
                      </a:lnTo>
                      <a:lnTo>
                        <a:pt x="446" y="46"/>
                      </a:lnTo>
                      <a:lnTo>
                        <a:pt x="388" y="49"/>
                      </a:lnTo>
                      <a:lnTo>
                        <a:pt x="331" y="54"/>
                      </a:lnTo>
                      <a:lnTo>
                        <a:pt x="273" y="59"/>
                      </a:lnTo>
                      <a:lnTo>
                        <a:pt x="217" y="62"/>
                      </a:lnTo>
                      <a:lnTo>
                        <a:pt x="164" y="67"/>
                      </a:lnTo>
                      <a:lnTo>
                        <a:pt x="117" y="71"/>
                      </a:lnTo>
                      <a:lnTo>
                        <a:pt x="74" y="74"/>
                      </a:lnTo>
                      <a:lnTo>
                        <a:pt x="40" y="75"/>
                      </a:lnTo>
                      <a:lnTo>
                        <a:pt x="14" y="78"/>
                      </a:lnTo>
                      <a:lnTo>
                        <a:pt x="0" y="78"/>
                      </a:lnTo>
                      <a:lnTo>
                        <a:pt x="1" y="72"/>
                      </a:lnTo>
                      <a:lnTo>
                        <a:pt x="3" y="66"/>
                      </a:lnTo>
                      <a:lnTo>
                        <a:pt x="6" y="61"/>
                      </a:lnTo>
                      <a:lnTo>
                        <a:pt x="7" y="54"/>
                      </a:lnTo>
                      <a:lnTo>
                        <a:pt x="13" y="53"/>
                      </a:lnTo>
                      <a:lnTo>
                        <a:pt x="24" y="53"/>
                      </a:lnTo>
                      <a:lnTo>
                        <a:pt x="37" y="52"/>
                      </a:lnTo>
                      <a:lnTo>
                        <a:pt x="54" y="49"/>
                      </a:lnTo>
                      <a:lnTo>
                        <a:pt x="73" y="48"/>
                      </a:lnTo>
                      <a:lnTo>
                        <a:pt x="94" y="46"/>
                      </a:lnTo>
                      <a:lnTo>
                        <a:pt x="118" y="43"/>
                      </a:lnTo>
                      <a:lnTo>
                        <a:pt x="144" y="41"/>
                      </a:lnTo>
                      <a:lnTo>
                        <a:pt x="173" y="38"/>
                      </a:lnTo>
                      <a:lnTo>
                        <a:pt x="201" y="36"/>
                      </a:lnTo>
                      <a:lnTo>
                        <a:pt x="232" y="32"/>
                      </a:lnTo>
                      <a:lnTo>
                        <a:pt x="264" y="30"/>
                      </a:lnTo>
                      <a:lnTo>
                        <a:pt x="298" y="28"/>
                      </a:lnTo>
                      <a:lnTo>
                        <a:pt x="331" y="24"/>
                      </a:lnTo>
                      <a:lnTo>
                        <a:pt x="366" y="22"/>
                      </a:lnTo>
                      <a:lnTo>
                        <a:pt x="400" y="19"/>
                      </a:lnTo>
                      <a:lnTo>
                        <a:pt x="434" y="16"/>
                      </a:lnTo>
                      <a:lnTo>
                        <a:pt x="468" y="13"/>
                      </a:lnTo>
                      <a:lnTo>
                        <a:pt x="501" y="11"/>
                      </a:lnTo>
                      <a:lnTo>
                        <a:pt x="534" y="9"/>
                      </a:lnTo>
                      <a:lnTo>
                        <a:pt x="566" y="7"/>
                      </a:lnTo>
                      <a:lnTo>
                        <a:pt x="596" y="5"/>
                      </a:lnTo>
                      <a:lnTo>
                        <a:pt x="625" y="4"/>
                      </a:lnTo>
                      <a:lnTo>
                        <a:pt x="653" y="3"/>
                      </a:lnTo>
                      <a:lnTo>
                        <a:pt x="678" y="2"/>
                      </a:lnTo>
                      <a:lnTo>
                        <a:pt x="700" y="2"/>
                      </a:lnTo>
                      <a:lnTo>
                        <a:pt x="722" y="0"/>
                      </a:lnTo>
                      <a:lnTo>
                        <a:pt x="740" y="2"/>
                      </a:lnTo>
                      <a:lnTo>
                        <a:pt x="755" y="2"/>
                      </a:lnTo>
                      <a:lnTo>
                        <a:pt x="767" y="3"/>
                      </a:lnTo>
                      <a:lnTo>
                        <a:pt x="777" y="4"/>
                      </a:lnTo>
                      <a:lnTo>
                        <a:pt x="781" y="6"/>
                      </a:lnTo>
                      <a:close/>
                    </a:path>
                  </a:pathLst>
                </a:custGeom>
                <a:solidFill>
                  <a:srgbClr val="000000"/>
                </a:solidFill>
                <a:ln w="9525">
                  <a:noFill/>
                  <a:round/>
                  <a:headEnd/>
                  <a:tailEnd/>
                </a:ln>
              </p:spPr>
              <p:txBody>
                <a:bodyPr/>
                <a:lstStyle/>
                <a:p>
                  <a:endParaRPr lang="ja-JP" altLang="en-US" sz="1600" b="1">
                    <a:latin typeface="Times New Roman" charset="0"/>
                    <a:cs typeface="Times New Roman" charset="0"/>
                  </a:endParaRPr>
                </a:p>
              </p:txBody>
            </p:sp>
            <p:sp>
              <p:nvSpPr>
                <p:cNvPr id="46158" name="Freeform 150"/>
                <p:cNvSpPr>
                  <a:spLocks/>
                </p:cNvSpPr>
                <p:nvPr/>
              </p:nvSpPr>
              <p:spPr bwMode="auto">
                <a:xfrm>
                  <a:off x="4855" y="3476"/>
                  <a:ext cx="171" cy="39"/>
                </a:xfrm>
                <a:custGeom>
                  <a:avLst/>
                  <a:gdLst>
                    <a:gd name="T0" fmla="*/ 0 w 1025"/>
                    <a:gd name="T1" fmla="*/ 0 h 233"/>
                    <a:gd name="T2" fmla="*/ 0 w 1025"/>
                    <a:gd name="T3" fmla="*/ 0 h 233"/>
                    <a:gd name="T4" fmla="*/ 0 w 1025"/>
                    <a:gd name="T5" fmla="*/ 0 h 233"/>
                    <a:gd name="T6" fmla="*/ 0 w 1025"/>
                    <a:gd name="T7" fmla="*/ 0 h 233"/>
                    <a:gd name="T8" fmla="*/ 0 w 1025"/>
                    <a:gd name="T9" fmla="*/ 0 h 233"/>
                    <a:gd name="T10" fmla="*/ 0 w 1025"/>
                    <a:gd name="T11" fmla="*/ 0 h 233"/>
                    <a:gd name="T12" fmla="*/ 0 w 1025"/>
                    <a:gd name="T13" fmla="*/ 0 h 233"/>
                    <a:gd name="T14" fmla="*/ 0 w 1025"/>
                    <a:gd name="T15" fmla="*/ 0 h 233"/>
                    <a:gd name="T16" fmla="*/ 0 w 1025"/>
                    <a:gd name="T17" fmla="*/ 0 h 233"/>
                    <a:gd name="T18" fmla="*/ 0 w 1025"/>
                    <a:gd name="T19" fmla="*/ 0 h 233"/>
                    <a:gd name="T20" fmla="*/ 0 w 1025"/>
                    <a:gd name="T21" fmla="*/ 0 h 233"/>
                    <a:gd name="T22" fmla="*/ 0 w 1025"/>
                    <a:gd name="T23" fmla="*/ 0 h 233"/>
                    <a:gd name="T24" fmla="*/ 0 w 1025"/>
                    <a:gd name="T25" fmla="*/ 0 h 233"/>
                    <a:gd name="T26" fmla="*/ 0 w 1025"/>
                    <a:gd name="T27" fmla="*/ 0 h 233"/>
                    <a:gd name="T28" fmla="*/ 0 w 1025"/>
                    <a:gd name="T29" fmla="*/ 0 h 233"/>
                    <a:gd name="T30" fmla="*/ 0 w 1025"/>
                    <a:gd name="T31" fmla="*/ 0 h 233"/>
                    <a:gd name="T32" fmla="*/ 0 w 1025"/>
                    <a:gd name="T33" fmla="*/ 0 h 233"/>
                    <a:gd name="T34" fmla="*/ 0 w 1025"/>
                    <a:gd name="T35" fmla="*/ 0 h 233"/>
                    <a:gd name="T36" fmla="*/ 0 w 1025"/>
                    <a:gd name="T37" fmla="*/ 0 h 233"/>
                    <a:gd name="T38" fmla="*/ 0 w 1025"/>
                    <a:gd name="T39" fmla="*/ 0 h 233"/>
                    <a:gd name="T40" fmla="*/ 0 w 1025"/>
                    <a:gd name="T41" fmla="*/ 0 h 233"/>
                    <a:gd name="T42" fmla="*/ 0 w 1025"/>
                    <a:gd name="T43" fmla="*/ 0 h 233"/>
                    <a:gd name="T44" fmla="*/ 0 w 1025"/>
                    <a:gd name="T45" fmla="*/ 0 h 233"/>
                    <a:gd name="T46" fmla="*/ 0 w 1025"/>
                    <a:gd name="T47" fmla="*/ 0 h 233"/>
                    <a:gd name="T48" fmla="*/ 0 w 1025"/>
                    <a:gd name="T49" fmla="*/ 0 h 233"/>
                    <a:gd name="T50" fmla="*/ 0 w 1025"/>
                    <a:gd name="T51" fmla="*/ 0 h 233"/>
                    <a:gd name="T52" fmla="*/ 0 w 1025"/>
                    <a:gd name="T53" fmla="*/ 0 h 233"/>
                    <a:gd name="T54" fmla="*/ 0 w 1025"/>
                    <a:gd name="T55" fmla="*/ 0 h 233"/>
                    <a:gd name="T56" fmla="*/ 0 w 1025"/>
                    <a:gd name="T57" fmla="*/ 0 h 233"/>
                    <a:gd name="T58" fmla="*/ 0 w 1025"/>
                    <a:gd name="T59" fmla="*/ 0 h 233"/>
                    <a:gd name="T60" fmla="*/ 0 w 1025"/>
                    <a:gd name="T61" fmla="*/ 0 h 233"/>
                    <a:gd name="T62" fmla="*/ 0 w 1025"/>
                    <a:gd name="T63" fmla="*/ 0 h 233"/>
                    <a:gd name="T64" fmla="*/ 0 w 1025"/>
                    <a:gd name="T65" fmla="*/ 0 h 233"/>
                    <a:gd name="T66" fmla="*/ 0 w 1025"/>
                    <a:gd name="T67" fmla="*/ 0 h 233"/>
                    <a:gd name="T68" fmla="*/ 0 w 1025"/>
                    <a:gd name="T69" fmla="*/ 0 h 233"/>
                    <a:gd name="T70" fmla="*/ 0 w 1025"/>
                    <a:gd name="T71" fmla="*/ 0 h 233"/>
                    <a:gd name="T72" fmla="*/ 0 w 1025"/>
                    <a:gd name="T73" fmla="*/ 0 h 233"/>
                    <a:gd name="T74" fmla="*/ 0 w 1025"/>
                    <a:gd name="T75" fmla="*/ 0 h 233"/>
                    <a:gd name="T76" fmla="*/ 0 w 1025"/>
                    <a:gd name="T77" fmla="*/ 0 h 233"/>
                    <a:gd name="T78" fmla="*/ 0 w 1025"/>
                    <a:gd name="T79" fmla="*/ 0 h 233"/>
                    <a:gd name="T80" fmla="*/ 0 w 1025"/>
                    <a:gd name="T81" fmla="*/ 0 h 233"/>
                    <a:gd name="T82" fmla="*/ 0 w 1025"/>
                    <a:gd name="T83" fmla="*/ 0 h 233"/>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1025"/>
                    <a:gd name="T127" fmla="*/ 0 h 233"/>
                    <a:gd name="T128" fmla="*/ 1025 w 1025"/>
                    <a:gd name="T129" fmla="*/ 233 h 233"/>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1025" h="233">
                      <a:moveTo>
                        <a:pt x="312" y="233"/>
                      </a:moveTo>
                      <a:lnTo>
                        <a:pt x="308" y="232"/>
                      </a:lnTo>
                      <a:lnTo>
                        <a:pt x="299" y="230"/>
                      </a:lnTo>
                      <a:lnTo>
                        <a:pt x="284" y="226"/>
                      </a:lnTo>
                      <a:lnTo>
                        <a:pt x="265" y="223"/>
                      </a:lnTo>
                      <a:lnTo>
                        <a:pt x="243" y="217"/>
                      </a:lnTo>
                      <a:lnTo>
                        <a:pt x="216" y="211"/>
                      </a:lnTo>
                      <a:lnTo>
                        <a:pt x="189" y="203"/>
                      </a:lnTo>
                      <a:lnTo>
                        <a:pt x="162" y="196"/>
                      </a:lnTo>
                      <a:lnTo>
                        <a:pt x="133" y="189"/>
                      </a:lnTo>
                      <a:lnTo>
                        <a:pt x="104" y="182"/>
                      </a:lnTo>
                      <a:lnTo>
                        <a:pt x="78" y="175"/>
                      </a:lnTo>
                      <a:lnTo>
                        <a:pt x="54" y="168"/>
                      </a:lnTo>
                      <a:lnTo>
                        <a:pt x="34" y="162"/>
                      </a:lnTo>
                      <a:lnTo>
                        <a:pt x="17" y="156"/>
                      </a:lnTo>
                      <a:lnTo>
                        <a:pt x="6" y="152"/>
                      </a:lnTo>
                      <a:lnTo>
                        <a:pt x="0" y="149"/>
                      </a:lnTo>
                      <a:lnTo>
                        <a:pt x="2" y="144"/>
                      </a:lnTo>
                      <a:lnTo>
                        <a:pt x="6" y="140"/>
                      </a:lnTo>
                      <a:lnTo>
                        <a:pt x="10" y="137"/>
                      </a:lnTo>
                      <a:lnTo>
                        <a:pt x="14" y="132"/>
                      </a:lnTo>
                      <a:lnTo>
                        <a:pt x="341" y="88"/>
                      </a:lnTo>
                      <a:lnTo>
                        <a:pt x="344" y="88"/>
                      </a:lnTo>
                      <a:lnTo>
                        <a:pt x="346" y="72"/>
                      </a:lnTo>
                      <a:lnTo>
                        <a:pt x="347" y="56"/>
                      </a:lnTo>
                      <a:lnTo>
                        <a:pt x="345" y="39"/>
                      </a:lnTo>
                      <a:lnTo>
                        <a:pt x="338" y="25"/>
                      </a:lnTo>
                      <a:lnTo>
                        <a:pt x="336" y="25"/>
                      </a:lnTo>
                      <a:lnTo>
                        <a:pt x="328" y="26"/>
                      </a:lnTo>
                      <a:lnTo>
                        <a:pt x="316" y="27"/>
                      </a:lnTo>
                      <a:lnTo>
                        <a:pt x="302" y="28"/>
                      </a:lnTo>
                      <a:lnTo>
                        <a:pt x="285" y="30"/>
                      </a:lnTo>
                      <a:lnTo>
                        <a:pt x="266" y="32"/>
                      </a:lnTo>
                      <a:lnTo>
                        <a:pt x="245" y="34"/>
                      </a:lnTo>
                      <a:lnTo>
                        <a:pt x="224" y="36"/>
                      </a:lnTo>
                      <a:lnTo>
                        <a:pt x="202" y="38"/>
                      </a:lnTo>
                      <a:lnTo>
                        <a:pt x="181" y="40"/>
                      </a:lnTo>
                      <a:lnTo>
                        <a:pt x="162" y="43"/>
                      </a:lnTo>
                      <a:lnTo>
                        <a:pt x="144" y="44"/>
                      </a:lnTo>
                      <a:lnTo>
                        <a:pt x="128" y="45"/>
                      </a:lnTo>
                      <a:lnTo>
                        <a:pt x="115" y="46"/>
                      </a:lnTo>
                      <a:lnTo>
                        <a:pt x="107" y="47"/>
                      </a:lnTo>
                      <a:lnTo>
                        <a:pt x="103" y="47"/>
                      </a:lnTo>
                      <a:lnTo>
                        <a:pt x="101" y="45"/>
                      </a:lnTo>
                      <a:lnTo>
                        <a:pt x="101" y="41"/>
                      </a:lnTo>
                      <a:lnTo>
                        <a:pt x="101" y="38"/>
                      </a:lnTo>
                      <a:lnTo>
                        <a:pt x="101" y="34"/>
                      </a:lnTo>
                      <a:lnTo>
                        <a:pt x="116" y="32"/>
                      </a:lnTo>
                      <a:lnTo>
                        <a:pt x="132" y="28"/>
                      </a:lnTo>
                      <a:lnTo>
                        <a:pt x="148" y="26"/>
                      </a:lnTo>
                      <a:lnTo>
                        <a:pt x="164" y="25"/>
                      </a:lnTo>
                      <a:lnTo>
                        <a:pt x="179" y="22"/>
                      </a:lnTo>
                      <a:lnTo>
                        <a:pt x="195" y="20"/>
                      </a:lnTo>
                      <a:lnTo>
                        <a:pt x="212" y="18"/>
                      </a:lnTo>
                      <a:lnTo>
                        <a:pt x="227" y="16"/>
                      </a:lnTo>
                      <a:lnTo>
                        <a:pt x="243" y="14"/>
                      </a:lnTo>
                      <a:lnTo>
                        <a:pt x="259" y="13"/>
                      </a:lnTo>
                      <a:lnTo>
                        <a:pt x="275" y="11"/>
                      </a:lnTo>
                      <a:lnTo>
                        <a:pt x="291" y="8"/>
                      </a:lnTo>
                      <a:lnTo>
                        <a:pt x="307" y="7"/>
                      </a:lnTo>
                      <a:lnTo>
                        <a:pt x="322" y="5"/>
                      </a:lnTo>
                      <a:lnTo>
                        <a:pt x="339" y="2"/>
                      </a:lnTo>
                      <a:lnTo>
                        <a:pt x="355" y="0"/>
                      </a:lnTo>
                      <a:lnTo>
                        <a:pt x="365" y="14"/>
                      </a:lnTo>
                      <a:lnTo>
                        <a:pt x="372" y="30"/>
                      </a:lnTo>
                      <a:lnTo>
                        <a:pt x="377" y="47"/>
                      </a:lnTo>
                      <a:lnTo>
                        <a:pt x="381" y="64"/>
                      </a:lnTo>
                      <a:lnTo>
                        <a:pt x="384" y="82"/>
                      </a:lnTo>
                      <a:lnTo>
                        <a:pt x="381" y="100"/>
                      </a:lnTo>
                      <a:lnTo>
                        <a:pt x="372" y="117"/>
                      </a:lnTo>
                      <a:lnTo>
                        <a:pt x="364" y="132"/>
                      </a:lnTo>
                      <a:lnTo>
                        <a:pt x="338" y="136"/>
                      </a:lnTo>
                      <a:lnTo>
                        <a:pt x="336" y="117"/>
                      </a:lnTo>
                      <a:lnTo>
                        <a:pt x="319" y="118"/>
                      </a:lnTo>
                      <a:lnTo>
                        <a:pt x="302" y="119"/>
                      </a:lnTo>
                      <a:lnTo>
                        <a:pt x="285" y="120"/>
                      </a:lnTo>
                      <a:lnTo>
                        <a:pt x="270" y="122"/>
                      </a:lnTo>
                      <a:lnTo>
                        <a:pt x="253" y="124"/>
                      </a:lnTo>
                      <a:lnTo>
                        <a:pt x="237" y="126"/>
                      </a:lnTo>
                      <a:lnTo>
                        <a:pt x="221" y="128"/>
                      </a:lnTo>
                      <a:lnTo>
                        <a:pt x="204" y="131"/>
                      </a:lnTo>
                      <a:lnTo>
                        <a:pt x="189" y="133"/>
                      </a:lnTo>
                      <a:lnTo>
                        <a:pt x="173" y="136"/>
                      </a:lnTo>
                      <a:lnTo>
                        <a:pt x="157" y="139"/>
                      </a:lnTo>
                      <a:lnTo>
                        <a:pt x="141" y="142"/>
                      </a:lnTo>
                      <a:lnTo>
                        <a:pt x="125" y="144"/>
                      </a:lnTo>
                      <a:lnTo>
                        <a:pt x="109" y="146"/>
                      </a:lnTo>
                      <a:lnTo>
                        <a:pt x="92" y="149"/>
                      </a:lnTo>
                      <a:lnTo>
                        <a:pt x="77" y="151"/>
                      </a:lnTo>
                      <a:lnTo>
                        <a:pt x="92" y="155"/>
                      </a:lnTo>
                      <a:lnTo>
                        <a:pt x="107" y="158"/>
                      </a:lnTo>
                      <a:lnTo>
                        <a:pt x="122" y="161"/>
                      </a:lnTo>
                      <a:lnTo>
                        <a:pt x="138" y="164"/>
                      </a:lnTo>
                      <a:lnTo>
                        <a:pt x="152" y="168"/>
                      </a:lnTo>
                      <a:lnTo>
                        <a:pt x="168" y="173"/>
                      </a:lnTo>
                      <a:lnTo>
                        <a:pt x="182" y="176"/>
                      </a:lnTo>
                      <a:lnTo>
                        <a:pt x="197" y="180"/>
                      </a:lnTo>
                      <a:lnTo>
                        <a:pt x="212" y="183"/>
                      </a:lnTo>
                      <a:lnTo>
                        <a:pt x="227" y="187"/>
                      </a:lnTo>
                      <a:lnTo>
                        <a:pt x="241" y="190"/>
                      </a:lnTo>
                      <a:lnTo>
                        <a:pt x="257" y="194"/>
                      </a:lnTo>
                      <a:lnTo>
                        <a:pt x="272" y="196"/>
                      </a:lnTo>
                      <a:lnTo>
                        <a:pt x="287" y="200"/>
                      </a:lnTo>
                      <a:lnTo>
                        <a:pt x="302" y="203"/>
                      </a:lnTo>
                      <a:lnTo>
                        <a:pt x="318" y="206"/>
                      </a:lnTo>
                      <a:lnTo>
                        <a:pt x="324" y="205"/>
                      </a:lnTo>
                      <a:lnTo>
                        <a:pt x="339" y="202"/>
                      </a:lnTo>
                      <a:lnTo>
                        <a:pt x="364" y="199"/>
                      </a:lnTo>
                      <a:lnTo>
                        <a:pt x="396" y="194"/>
                      </a:lnTo>
                      <a:lnTo>
                        <a:pt x="436" y="188"/>
                      </a:lnTo>
                      <a:lnTo>
                        <a:pt x="480" y="181"/>
                      </a:lnTo>
                      <a:lnTo>
                        <a:pt x="529" y="174"/>
                      </a:lnTo>
                      <a:lnTo>
                        <a:pt x="579" y="165"/>
                      </a:lnTo>
                      <a:lnTo>
                        <a:pt x="631" y="157"/>
                      </a:lnTo>
                      <a:lnTo>
                        <a:pt x="682" y="150"/>
                      </a:lnTo>
                      <a:lnTo>
                        <a:pt x="733" y="142"/>
                      </a:lnTo>
                      <a:lnTo>
                        <a:pt x="781" y="133"/>
                      </a:lnTo>
                      <a:lnTo>
                        <a:pt x="826" y="126"/>
                      </a:lnTo>
                      <a:lnTo>
                        <a:pt x="865" y="120"/>
                      </a:lnTo>
                      <a:lnTo>
                        <a:pt x="898" y="114"/>
                      </a:lnTo>
                      <a:lnTo>
                        <a:pt x="923" y="109"/>
                      </a:lnTo>
                      <a:lnTo>
                        <a:pt x="769" y="90"/>
                      </a:lnTo>
                      <a:lnTo>
                        <a:pt x="768" y="87"/>
                      </a:lnTo>
                      <a:lnTo>
                        <a:pt x="770" y="81"/>
                      </a:lnTo>
                      <a:lnTo>
                        <a:pt x="774" y="75"/>
                      </a:lnTo>
                      <a:lnTo>
                        <a:pt x="778" y="70"/>
                      </a:lnTo>
                      <a:lnTo>
                        <a:pt x="1025" y="109"/>
                      </a:lnTo>
                      <a:lnTo>
                        <a:pt x="312" y="233"/>
                      </a:lnTo>
                      <a:close/>
                    </a:path>
                  </a:pathLst>
                </a:custGeom>
                <a:solidFill>
                  <a:srgbClr val="000000"/>
                </a:solidFill>
                <a:ln w="9525">
                  <a:noFill/>
                  <a:round/>
                  <a:headEnd/>
                  <a:tailEnd/>
                </a:ln>
              </p:spPr>
              <p:txBody>
                <a:bodyPr/>
                <a:lstStyle/>
                <a:p>
                  <a:endParaRPr lang="ja-JP" altLang="en-US" sz="1600" b="1">
                    <a:latin typeface="Times New Roman" charset="0"/>
                    <a:cs typeface="Times New Roman" charset="0"/>
                  </a:endParaRPr>
                </a:p>
              </p:txBody>
            </p:sp>
            <p:sp>
              <p:nvSpPr>
                <p:cNvPr id="46159" name="Freeform 151"/>
                <p:cNvSpPr>
                  <a:spLocks/>
                </p:cNvSpPr>
                <p:nvPr/>
              </p:nvSpPr>
              <p:spPr bwMode="auto">
                <a:xfrm>
                  <a:off x="4979" y="3514"/>
                  <a:ext cx="8" cy="22"/>
                </a:xfrm>
                <a:custGeom>
                  <a:avLst/>
                  <a:gdLst>
                    <a:gd name="T0" fmla="*/ 0 w 53"/>
                    <a:gd name="T1" fmla="*/ 0 h 130"/>
                    <a:gd name="T2" fmla="*/ 0 w 53"/>
                    <a:gd name="T3" fmla="*/ 0 h 130"/>
                    <a:gd name="T4" fmla="*/ 0 w 53"/>
                    <a:gd name="T5" fmla="*/ 0 h 130"/>
                    <a:gd name="T6" fmla="*/ 0 w 53"/>
                    <a:gd name="T7" fmla="*/ 0 h 130"/>
                    <a:gd name="T8" fmla="*/ 0 w 53"/>
                    <a:gd name="T9" fmla="*/ 0 h 130"/>
                    <a:gd name="T10" fmla="*/ 0 w 53"/>
                    <a:gd name="T11" fmla="*/ 0 h 130"/>
                    <a:gd name="T12" fmla="*/ 0 w 53"/>
                    <a:gd name="T13" fmla="*/ 0 h 130"/>
                    <a:gd name="T14" fmla="*/ 0 w 53"/>
                    <a:gd name="T15" fmla="*/ 0 h 130"/>
                    <a:gd name="T16" fmla="*/ 0 w 53"/>
                    <a:gd name="T17" fmla="*/ 0 h 130"/>
                    <a:gd name="T18" fmla="*/ 0 w 53"/>
                    <a:gd name="T19" fmla="*/ 0 h 130"/>
                    <a:gd name="T20" fmla="*/ 0 w 53"/>
                    <a:gd name="T21" fmla="*/ 0 h 130"/>
                    <a:gd name="T22" fmla="*/ 0 w 53"/>
                    <a:gd name="T23" fmla="*/ 0 h 130"/>
                    <a:gd name="T24" fmla="*/ 0 w 53"/>
                    <a:gd name="T25" fmla="*/ 0 h 130"/>
                    <a:gd name="T26" fmla="*/ 0 w 53"/>
                    <a:gd name="T27" fmla="*/ 0 h 130"/>
                    <a:gd name="T28" fmla="*/ 0 w 53"/>
                    <a:gd name="T29" fmla="*/ 0 h 130"/>
                    <a:gd name="T30" fmla="*/ 0 w 53"/>
                    <a:gd name="T31" fmla="*/ 0 h 130"/>
                    <a:gd name="T32" fmla="*/ 0 w 53"/>
                    <a:gd name="T33" fmla="*/ 0 h 130"/>
                    <a:gd name="T34" fmla="*/ 0 w 53"/>
                    <a:gd name="T35" fmla="*/ 0 h 130"/>
                    <a:gd name="T36" fmla="*/ 0 w 53"/>
                    <a:gd name="T37" fmla="*/ 0 h 130"/>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53"/>
                    <a:gd name="T58" fmla="*/ 0 h 130"/>
                    <a:gd name="T59" fmla="*/ 53 w 53"/>
                    <a:gd name="T60" fmla="*/ 130 h 130"/>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53" h="130">
                      <a:moveTo>
                        <a:pt x="16" y="2"/>
                      </a:moveTo>
                      <a:lnTo>
                        <a:pt x="22" y="17"/>
                      </a:lnTo>
                      <a:lnTo>
                        <a:pt x="28" y="32"/>
                      </a:lnTo>
                      <a:lnTo>
                        <a:pt x="32" y="46"/>
                      </a:lnTo>
                      <a:lnTo>
                        <a:pt x="38" y="61"/>
                      </a:lnTo>
                      <a:lnTo>
                        <a:pt x="43" y="76"/>
                      </a:lnTo>
                      <a:lnTo>
                        <a:pt x="47" y="92"/>
                      </a:lnTo>
                      <a:lnTo>
                        <a:pt x="50" y="107"/>
                      </a:lnTo>
                      <a:lnTo>
                        <a:pt x="53" y="124"/>
                      </a:lnTo>
                      <a:lnTo>
                        <a:pt x="40" y="130"/>
                      </a:lnTo>
                      <a:lnTo>
                        <a:pt x="32" y="115"/>
                      </a:lnTo>
                      <a:lnTo>
                        <a:pt x="30" y="99"/>
                      </a:lnTo>
                      <a:lnTo>
                        <a:pt x="28" y="83"/>
                      </a:lnTo>
                      <a:lnTo>
                        <a:pt x="23" y="68"/>
                      </a:lnTo>
                      <a:lnTo>
                        <a:pt x="0" y="7"/>
                      </a:lnTo>
                      <a:lnTo>
                        <a:pt x="3" y="3"/>
                      </a:lnTo>
                      <a:lnTo>
                        <a:pt x="6" y="1"/>
                      </a:lnTo>
                      <a:lnTo>
                        <a:pt x="11" y="0"/>
                      </a:lnTo>
                      <a:lnTo>
                        <a:pt x="16" y="2"/>
                      </a:lnTo>
                      <a:close/>
                    </a:path>
                  </a:pathLst>
                </a:custGeom>
                <a:solidFill>
                  <a:srgbClr val="000000"/>
                </a:solidFill>
                <a:ln w="9525">
                  <a:noFill/>
                  <a:round/>
                  <a:headEnd/>
                  <a:tailEnd/>
                </a:ln>
              </p:spPr>
              <p:txBody>
                <a:bodyPr/>
                <a:lstStyle/>
                <a:p>
                  <a:endParaRPr lang="ja-JP" altLang="en-US" sz="1600" b="1">
                    <a:latin typeface="Times New Roman" charset="0"/>
                    <a:cs typeface="Times New Roman" charset="0"/>
                  </a:endParaRPr>
                </a:p>
              </p:txBody>
            </p:sp>
            <p:sp>
              <p:nvSpPr>
                <p:cNvPr id="46160" name="Freeform 152"/>
                <p:cNvSpPr>
                  <a:spLocks/>
                </p:cNvSpPr>
                <p:nvPr/>
              </p:nvSpPr>
              <p:spPr bwMode="auto">
                <a:xfrm>
                  <a:off x="4971" y="3515"/>
                  <a:ext cx="10" cy="19"/>
                </a:xfrm>
                <a:custGeom>
                  <a:avLst/>
                  <a:gdLst>
                    <a:gd name="T0" fmla="*/ 0 w 58"/>
                    <a:gd name="T1" fmla="*/ 0 h 115"/>
                    <a:gd name="T2" fmla="*/ 0 w 58"/>
                    <a:gd name="T3" fmla="*/ 0 h 115"/>
                    <a:gd name="T4" fmla="*/ 0 w 58"/>
                    <a:gd name="T5" fmla="*/ 0 h 115"/>
                    <a:gd name="T6" fmla="*/ 0 w 58"/>
                    <a:gd name="T7" fmla="*/ 0 h 115"/>
                    <a:gd name="T8" fmla="*/ 0 w 58"/>
                    <a:gd name="T9" fmla="*/ 0 h 115"/>
                    <a:gd name="T10" fmla="*/ 0 w 58"/>
                    <a:gd name="T11" fmla="*/ 0 h 115"/>
                    <a:gd name="T12" fmla="*/ 0 w 58"/>
                    <a:gd name="T13" fmla="*/ 0 h 115"/>
                    <a:gd name="T14" fmla="*/ 0 w 58"/>
                    <a:gd name="T15" fmla="*/ 0 h 115"/>
                    <a:gd name="T16" fmla="*/ 0 w 58"/>
                    <a:gd name="T17" fmla="*/ 0 h 115"/>
                    <a:gd name="T18" fmla="*/ 0 w 58"/>
                    <a:gd name="T19" fmla="*/ 0 h 115"/>
                    <a:gd name="T20" fmla="*/ 0 w 58"/>
                    <a:gd name="T21" fmla="*/ 0 h 115"/>
                    <a:gd name="T22" fmla="*/ 0 w 58"/>
                    <a:gd name="T23" fmla="*/ 0 h 115"/>
                    <a:gd name="T24" fmla="*/ 0 w 58"/>
                    <a:gd name="T25" fmla="*/ 0 h 115"/>
                    <a:gd name="T26" fmla="*/ 0 w 58"/>
                    <a:gd name="T27" fmla="*/ 0 h 115"/>
                    <a:gd name="T28" fmla="*/ 0 w 58"/>
                    <a:gd name="T29" fmla="*/ 0 h 115"/>
                    <a:gd name="T30" fmla="*/ 0 w 58"/>
                    <a:gd name="T31" fmla="*/ 0 h 115"/>
                    <a:gd name="T32" fmla="*/ 0 w 58"/>
                    <a:gd name="T33" fmla="*/ 0 h 115"/>
                    <a:gd name="T34" fmla="*/ 0 w 58"/>
                    <a:gd name="T35" fmla="*/ 0 h 115"/>
                    <a:gd name="T36" fmla="*/ 0 w 58"/>
                    <a:gd name="T37" fmla="*/ 0 h 115"/>
                    <a:gd name="T38" fmla="*/ 0 w 58"/>
                    <a:gd name="T39" fmla="*/ 0 h 115"/>
                    <a:gd name="T40" fmla="*/ 0 w 58"/>
                    <a:gd name="T41" fmla="*/ 0 h 115"/>
                    <a:gd name="T42" fmla="*/ 0 w 58"/>
                    <a:gd name="T43" fmla="*/ 0 h 115"/>
                    <a:gd name="T44" fmla="*/ 0 w 58"/>
                    <a:gd name="T45" fmla="*/ 0 h 115"/>
                    <a:gd name="T46" fmla="*/ 0 w 58"/>
                    <a:gd name="T47" fmla="*/ 0 h 115"/>
                    <a:gd name="T48" fmla="*/ 0 w 58"/>
                    <a:gd name="T49" fmla="*/ 0 h 115"/>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58"/>
                    <a:gd name="T76" fmla="*/ 0 h 115"/>
                    <a:gd name="T77" fmla="*/ 58 w 58"/>
                    <a:gd name="T78" fmla="*/ 115 h 115"/>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58" h="115">
                      <a:moveTo>
                        <a:pt x="13" y="0"/>
                      </a:moveTo>
                      <a:lnTo>
                        <a:pt x="20" y="13"/>
                      </a:lnTo>
                      <a:lnTo>
                        <a:pt x="27" y="26"/>
                      </a:lnTo>
                      <a:lnTo>
                        <a:pt x="35" y="40"/>
                      </a:lnTo>
                      <a:lnTo>
                        <a:pt x="40" y="53"/>
                      </a:lnTo>
                      <a:lnTo>
                        <a:pt x="46" y="66"/>
                      </a:lnTo>
                      <a:lnTo>
                        <a:pt x="51" y="80"/>
                      </a:lnTo>
                      <a:lnTo>
                        <a:pt x="56" y="94"/>
                      </a:lnTo>
                      <a:lnTo>
                        <a:pt x="58" y="109"/>
                      </a:lnTo>
                      <a:lnTo>
                        <a:pt x="55" y="110"/>
                      </a:lnTo>
                      <a:lnTo>
                        <a:pt x="52" y="112"/>
                      </a:lnTo>
                      <a:lnTo>
                        <a:pt x="49" y="115"/>
                      </a:lnTo>
                      <a:lnTo>
                        <a:pt x="45" y="115"/>
                      </a:lnTo>
                      <a:lnTo>
                        <a:pt x="39" y="101"/>
                      </a:lnTo>
                      <a:lnTo>
                        <a:pt x="35" y="88"/>
                      </a:lnTo>
                      <a:lnTo>
                        <a:pt x="31" y="74"/>
                      </a:lnTo>
                      <a:lnTo>
                        <a:pt x="27" y="61"/>
                      </a:lnTo>
                      <a:lnTo>
                        <a:pt x="23" y="47"/>
                      </a:lnTo>
                      <a:lnTo>
                        <a:pt x="18" y="34"/>
                      </a:lnTo>
                      <a:lnTo>
                        <a:pt x="10" y="22"/>
                      </a:lnTo>
                      <a:lnTo>
                        <a:pt x="0" y="11"/>
                      </a:lnTo>
                      <a:lnTo>
                        <a:pt x="1" y="7"/>
                      </a:lnTo>
                      <a:lnTo>
                        <a:pt x="5" y="4"/>
                      </a:lnTo>
                      <a:lnTo>
                        <a:pt x="8" y="0"/>
                      </a:lnTo>
                      <a:lnTo>
                        <a:pt x="13" y="0"/>
                      </a:lnTo>
                      <a:close/>
                    </a:path>
                  </a:pathLst>
                </a:custGeom>
                <a:solidFill>
                  <a:srgbClr val="000000"/>
                </a:solidFill>
                <a:ln w="9525">
                  <a:noFill/>
                  <a:round/>
                  <a:headEnd/>
                  <a:tailEnd/>
                </a:ln>
              </p:spPr>
              <p:txBody>
                <a:bodyPr/>
                <a:lstStyle/>
                <a:p>
                  <a:endParaRPr lang="ja-JP" altLang="en-US" sz="1600" b="1">
                    <a:latin typeface="Times New Roman" charset="0"/>
                    <a:cs typeface="Times New Roman" charset="0"/>
                  </a:endParaRPr>
                </a:p>
              </p:txBody>
            </p:sp>
            <p:sp>
              <p:nvSpPr>
                <p:cNvPr id="46161" name="Freeform 153"/>
                <p:cNvSpPr>
                  <a:spLocks/>
                </p:cNvSpPr>
                <p:nvPr/>
              </p:nvSpPr>
              <p:spPr bwMode="auto">
                <a:xfrm>
                  <a:off x="4963" y="3517"/>
                  <a:ext cx="11" cy="19"/>
                </a:xfrm>
                <a:custGeom>
                  <a:avLst/>
                  <a:gdLst>
                    <a:gd name="T0" fmla="*/ 0 w 68"/>
                    <a:gd name="T1" fmla="*/ 0 h 113"/>
                    <a:gd name="T2" fmla="*/ 0 w 68"/>
                    <a:gd name="T3" fmla="*/ 0 h 113"/>
                    <a:gd name="T4" fmla="*/ 0 w 68"/>
                    <a:gd name="T5" fmla="*/ 0 h 113"/>
                    <a:gd name="T6" fmla="*/ 0 w 68"/>
                    <a:gd name="T7" fmla="*/ 0 h 113"/>
                    <a:gd name="T8" fmla="*/ 0 w 68"/>
                    <a:gd name="T9" fmla="*/ 0 h 113"/>
                    <a:gd name="T10" fmla="*/ 0 w 68"/>
                    <a:gd name="T11" fmla="*/ 0 h 113"/>
                    <a:gd name="T12" fmla="*/ 0 w 68"/>
                    <a:gd name="T13" fmla="*/ 0 h 113"/>
                    <a:gd name="T14" fmla="*/ 0 w 68"/>
                    <a:gd name="T15" fmla="*/ 0 h 113"/>
                    <a:gd name="T16" fmla="*/ 0 w 68"/>
                    <a:gd name="T17" fmla="*/ 0 h 113"/>
                    <a:gd name="T18" fmla="*/ 0 w 68"/>
                    <a:gd name="T19" fmla="*/ 0 h 113"/>
                    <a:gd name="T20" fmla="*/ 0 w 68"/>
                    <a:gd name="T21" fmla="*/ 0 h 113"/>
                    <a:gd name="T22" fmla="*/ 0 w 68"/>
                    <a:gd name="T23" fmla="*/ 0 h 113"/>
                    <a:gd name="T24" fmla="*/ 0 w 68"/>
                    <a:gd name="T25" fmla="*/ 0 h 113"/>
                    <a:gd name="T26" fmla="*/ 0 w 68"/>
                    <a:gd name="T27" fmla="*/ 0 h 113"/>
                    <a:gd name="T28" fmla="*/ 0 w 68"/>
                    <a:gd name="T29" fmla="*/ 0 h 113"/>
                    <a:gd name="T30" fmla="*/ 0 w 68"/>
                    <a:gd name="T31" fmla="*/ 0 h 113"/>
                    <a:gd name="T32" fmla="*/ 0 w 68"/>
                    <a:gd name="T33" fmla="*/ 0 h 113"/>
                    <a:gd name="T34" fmla="*/ 0 w 68"/>
                    <a:gd name="T35" fmla="*/ 0 h 113"/>
                    <a:gd name="T36" fmla="*/ 0 w 68"/>
                    <a:gd name="T37" fmla="*/ 0 h 113"/>
                    <a:gd name="T38" fmla="*/ 0 w 68"/>
                    <a:gd name="T39" fmla="*/ 0 h 113"/>
                    <a:gd name="T40" fmla="*/ 0 w 68"/>
                    <a:gd name="T41" fmla="*/ 0 h 113"/>
                    <a:gd name="T42" fmla="*/ 0 w 68"/>
                    <a:gd name="T43" fmla="*/ 0 h 113"/>
                    <a:gd name="T44" fmla="*/ 0 w 68"/>
                    <a:gd name="T45" fmla="*/ 0 h 113"/>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68"/>
                    <a:gd name="T70" fmla="*/ 0 h 113"/>
                    <a:gd name="T71" fmla="*/ 68 w 68"/>
                    <a:gd name="T72" fmla="*/ 113 h 113"/>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68" h="113">
                      <a:moveTo>
                        <a:pt x="13" y="0"/>
                      </a:moveTo>
                      <a:lnTo>
                        <a:pt x="25" y="12"/>
                      </a:lnTo>
                      <a:lnTo>
                        <a:pt x="36" y="24"/>
                      </a:lnTo>
                      <a:lnTo>
                        <a:pt x="46" y="37"/>
                      </a:lnTo>
                      <a:lnTo>
                        <a:pt x="55" y="50"/>
                      </a:lnTo>
                      <a:lnTo>
                        <a:pt x="61" y="64"/>
                      </a:lnTo>
                      <a:lnTo>
                        <a:pt x="66" y="80"/>
                      </a:lnTo>
                      <a:lnTo>
                        <a:pt x="68" y="95"/>
                      </a:lnTo>
                      <a:lnTo>
                        <a:pt x="68" y="111"/>
                      </a:lnTo>
                      <a:lnTo>
                        <a:pt x="66" y="112"/>
                      </a:lnTo>
                      <a:lnTo>
                        <a:pt x="62" y="113"/>
                      </a:lnTo>
                      <a:lnTo>
                        <a:pt x="59" y="113"/>
                      </a:lnTo>
                      <a:lnTo>
                        <a:pt x="55" y="113"/>
                      </a:lnTo>
                      <a:lnTo>
                        <a:pt x="49" y="99"/>
                      </a:lnTo>
                      <a:lnTo>
                        <a:pt x="44" y="85"/>
                      </a:lnTo>
                      <a:lnTo>
                        <a:pt x="41" y="70"/>
                      </a:lnTo>
                      <a:lnTo>
                        <a:pt x="36" y="56"/>
                      </a:lnTo>
                      <a:lnTo>
                        <a:pt x="30" y="42"/>
                      </a:lnTo>
                      <a:lnTo>
                        <a:pt x="23" y="29"/>
                      </a:lnTo>
                      <a:lnTo>
                        <a:pt x="13" y="18"/>
                      </a:lnTo>
                      <a:lnTo>
                        <a:pt x="0" y="7"/>
                      </a:lnTo>
                      <a:lnTo>
                        <a:pt x="0" y="0"/>
                      </a:lnTo>
                      <a:lnTo>
                        <a:pt x="13" y="0"/>
                      </a:lnTo>
                      <a:close/>
                    </a:path>
                  </a:pathLst>
                </a:custGeom>
                <a:solidFill>
                  <a:srgbClr val="000000"/>
                </a:solidFill>
                <a:ln w="9525">
                  <a:noFill/>
                  <a:round/>
                  <a:headEnd/>
                  <a:tailEnd/>
                </a:ln>
              </p:spPr>
              <p:txBody>
                <a:bodyPr/>
                <a:lstStyle/>
                <a:p>
                  <a:endParaRPr lang="ja-JP" altLang="en-US" sz="1600" b="1">
                    <a:latin typeface="Times New Roman" charset="0"/>
                    <a:cs typeface="Times New Roman" charset="0"/>
                  </a:endParaRPr>
                </a:p>
              </p:txBody>
            </p:sp>
            <p:sp>
              <p:nvSpPr>
                <p:cNvPr id="46162" name="Freeform 154"/>
                <p:cNvSpPr>
                  <a:spLocks/>
                </p:cNvSpPr>
                <p:nvPr/>
              </p:nvSpPr>
              <p:spPr bwMode="auto">
                <a:xfrm>
                  <a:off x="4886" y="3521"/>
                  <a:ext cx="88" cy="41"/>
                </a:xfrm>
                <a:custGeom>
                  <a:avLst/>
                  <a:gdLst>
                    <a:gd name="T0" fmla="*/ 0 w 525"/>
                    <a:gd name="T1" fmla="*/ 0 h 248"/>
                    <a:gd name="T2" fmla="*/ 0 w 525"/>
                    <a:gd name="T3" fmla="*/ 0 h 248"/>
                    <a:gd name="T4" fmla="*/ 0 w 525"/>
                    <a:gd name="T5" fmla="*/ 0 h 248"/>
                    <a:gd name="T6" fmla="*/ 0 w 525"/>
                    <a:gd name="T7" fmla="*/ 0 h 248"/>
                    <a:gd name="T8" fmla="*/ 0 w 525"/>
                    <a:gd name="T9" fmla="*/ 0 h 248"/>
                    <a:gd name="T10" fmla="*/ 0 w 525"/>
                    <a:gd name="T11" fmla="*/ 0 h 248"/>
                    <a:gd name="T12" fmla="*/ 0 w 525"/>
                    <a:gd name="T13" fmla="*/ 0 h 248"/>
                    <a:gd name="T14" fmla="*/ 0 w 525"/>
                    <a:gd name="T15" fmla="*/ 0 h 248"/>
                    <a:gd name="T16" fmla="*/ 0 w 525"/>
                    <a:gd name="T17" fmla="*/ 0 h 248"/>
                    <a:gd name="T18" fmla="*/ 0 w 525"/>
                    <a:gd name="T19" fmla="*/ 0 h 248"/>
                    <a:gd name="T20" fmla="*/ 0 w 525"/>
                    <a:gd name="T21" fmla="*/ 0 h 248"/>
                    <a:gd name="T22" fmla="*/ 0 w 525"/>
                    <a:gd name="T23" fmla="*/ 0 h 248"/>
                    <a:gd name="T24" fmla="*/ 0 w 525"/>
                    <a:gd name="T25" fmla="*/ 0 h 248"/>
                    <a:gd name="T26" fmla="*/ 0 w 525"/>
                    <a:gd name="T27" fmla="*/ 0 h 248"/>
                    <a:gd name="T28" fmla="*/ 0 w 525"/>
                    <a:gd name="T29" fmla="*/ 0 h 248"/>
                    <a:gd name="T30" fmla="*/ 0 w 525"/>
                    <a:gd name="T31" fmla="*/ 0 h 248"/>
                    <a:gd name="T32" fmla="*/ 0 w 525"/>
                    <a:gd name="T33" fmla="*/ 0 h 248"/>
                    <a:gd name="T34" fmla="*/ 0 w 525"/>
                    <a:gd name="T35" fmla="*/ 0 h 248"/>
                    <a:gd name="T36" fmla="*/ 0 w 525"/>
                    <a:gd name="T37" fmla="*/ 0 h 248"/>
                    <a:gd name="T38" fmla="*/ 0 w 525"/>
                    <a:gd name="T39" fmla="*/ 0 h 248"/>
                    <a:gd name="T40" fmla="*/ 0 w 525"/>
                    <a:gd name="T41" fmla="*/ 0 h 248"/>
                    <a:gd name="T42" fmla="*/ 0 w 525"/>
                    <a:gd name="T43" fmla="*/ 0 h 248"/>
                    <a:gd name="T44" fmla="*/ 0 w 525"/>
                    <a:gd name="T45" fmla="*/ 0 h 248"/>
                    <a:gd name="T46" fmla="*/ 0 w 525"/>
                    <a:gd name="T47" fmla="*/ 0 h 248"/>
                    <a:gd name="T48" fmla="*/ 0 w 525"/>
                    <a:gd name="T49" fmla="*/ 0 h 248"/>
                    <a:gd name="T50" fmla="*/ 0 w 525"/>
                    <a:gd name="T51" fmla="*/ 0 h 248"/>
                    <a:gd name="T52" fmla="*/ 0 w 525"/>
                    <a:gd name="T53" fmla="*/ 0 h 248"/>
                    <a:gd name="T54" fmla="*/ 0 w 525"/>
                    <a:gd name="T55" fmla="*/ 0 h 248"/>
                    <a:gd name="T56" fmla="*/ 0 w 525"/>
                    <a:gd name="T57" fmla="*/ 0 h 248"/>
                    <a:gd name="T58" fmla="*/ 0 w 525"/>
                    <a:gd name="T59" fmla="*/ 0 h 248"/>
                    <a:gd name="T60" fmla="*/ 0 w 525"/>
                    <a:gd name="T61" fmla="*/ 0 h 248"/>
                    <a:gd name="T62" fmla="*/ 0 w 525"/>
                    <a:gd name="T63" fmla="*/ 0 h 248"/>
                    <a:gd name="T64" fmla="*/ 0 w 525"/>
                    <a:gd name="T65" fmla="*/ 0 h 248"/>
                    <a:gd name="T66" fmla="*/ 0 w 525"/>
                    <a:gd name="T67" fmla="*/ 0 h 248"/>
                    <a:gd name="T68" fmla="*/ 0 w 525"/>
                    <a:gd name="T69" fmla="*/ 0 h 248"/>
                    <a:gd name="T70" fmla="*/ 0 w 525"/>
                    <a:gd name="T71" fmla="*/ 0 h 248"/>
                    <a:gd name="T72" fmla="*/ 0 w 525"/>
                    <a:gd name="T73" fmla="*/ 0 h 248"/>
                    <a:gd name="T74" fmla="*/ 0 w 525"/>
                    <a:gd name="T75" fmla="*/ 0 h 248"/>
                    <a:gd name="T76" fmla="*/ 0 w 525"/>
                    <a:gd name="T77" fmla="*/ 0 h 248"/>
                    <a:gd name="T78" fmla="*/ 0 w 525"/>
                    <a:gd name="T79" fmla="*/ 0 h 248"/>
                    <a:gd name="T80" fmla="*/ 0 w 525"/>
                    <a:gd name="T81" fmla="*/ 0 h 248"/>
                    <a:gd name="T82" fmla="*/ 0 w 525"/>
                    <a:gd name="T83" fmla="*/ 0 h 248"/>
                    <a:gd name="T84" fmla="*/ 0 w 525"/>
                    <a:gd name="T85" fmla="*/ 0 h 248"/>
                    <a:gd name="T86" fmla="*/ 0 w 525"/>
                    <a:gd name="T87" fmla="*/ 0 h 248"/>
                    <a:gd name="T88" fmla="*/ 0 w 525"/>
                    <a:gd name="T89" fmla="*/ 0 h 248"/>
                    <a:gd name="T90" fmla="*/ 0 w 525"/>
                    <a:gd name="T91" fmla="*/ 0 h 248"/>
                    <a:gd name="T92" fmla="*/ 0 w 525"/>
                    <a:gd name="T93" fmla="*/ 0 h 248"/>
                    <a:gd name="T94" fmla="*/ 0 w 525"/>
                    <a:gd name="T95" fmla="*/ 0 h 248"/>
                    <a:gd name="T96" fmla="*/ 0 w 525"/>
                    <a:gd name="T97" fmla="*/ 0 h 248"/>
                    <a:gd name="T98" fmla="*/ 0 w 525"/>
                    <a:gd name="T99" fmla="*/ 0 h 248"/>
                    <a:gd name="T100" fmla="*/ 0 w 525"/>
                    <a:gd name="T101" fmla="*/ 0 h 248"/>
                    <a:gd name="T102" fmla="*/ 0 w 525"/>
                    <a:gd name="T103" fmla="*/ 0 h 248"/>
                    <a:gd name="T104" fmla="*/ 0 w 525"/>
                    <a:gd name="T105" fmla="*/ 0 h 248"/>
                    <a:gd name="T106" fmla="*/ 0 w 525"/>
                    <a:gd name="T107" fmla="*/ 0 h 248"/>
                    <a:gd name="T108" fmla="*/ 0 w 525"/>
                    <a:gd name="T109" fmla="*/ 0 h 248"/>
                    <a:gd name="T110" fmla="*/ 0 w 525"/>
                    <a:gd name="T111" fmla="*/ 0 h 248"/>
                    <a:gd name="T112" fmla="*/ 0 w 525"/>
                    <a:gd name="T113" fmla="*/ 0 h 248"/>
                    <a:gd name="T114" fmla="*/ 0 w 525"/>
                    <a:gd name="T115" fmla="*/ 0 h 248"/>
                    <a:gd name="T116" fmla="*/ 0 w 525"/>
                    <a:gd name="T117" fmla="*/ 0 h 248"/>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525"/>
                    <a:gd name="T178" fmla="*/ 0 h 248"/>
                    <a:gd name="T179" fmla="*/ 525 w 525"/>
                    <a:gd name="T180" fmla="*/ 248 h 248"/>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525" h="248">
                      <a:moveTo>
                        <a:pt x="478" y="41"/>
                      </a:moveTo>
                      <a:lnTo>
                        <a:pt x="487" y="65"/>
                      </a:lnTo>
                      <a:lnTo>
                        <a:pt x="497" y="89"/>
                      </a:lnTo>
                      <a:lnTo>
                        <a:pt x="504" y="114"/>
                      </a:lnTo>
                      <a:lnTo>
                        <a:pt x="511" y="139"/>
                      </a:lnTo>
                      <a:lnTo>
                        <a:pt x="516" y="164"/>
                      </a:lnTo>
                      <a:lnTo>
                        <a:pt x="521" y="189"/>
                      </a:lnTo>
                      <a:lnTo>
                        <a:pt x="523" y="215"/>
                      </a:lnTo>
                      <a:lnTo>
                        <a:pt x="525" y="240"/>
                      </a:lnTo>
                      <a:lnTo>
                        <a:pt x="518" y="245"/>
                      </a:lnTo>
                      <a:lnTo>
                        <a:pt x="511" y="248"/>
                      </a:lnTo>
                      <a:lnTo>
                        <a:pt x="505" y="248"/>
                      </a:lnTo>
                      <a:lnTo>
                        <a:pt x="499" y="246"/>
                      </a:lnTo>
                      <a:lnTo>
                        <a:pt x="494" y="243"/>
                      </a:lnTo>
                      <a:lnTo>
                        <a:pt x="490" y="238"/>
                      </a:lnTo>
                      <a:lnTo>
                        <a:pt x="486" y="232"/>
                      </a:lnTo>
                      <a:lnTo>
                        <a:pt x="484" y="225"/>
                      </a:lnTo>
                      <a:lnTo>
                        <a:pt x="480" y="218"/>
                      </a:lnTo>
                      <a:lnTo>
                        <a:pt x="479" y="211"/>
                      </a:lnTo>
                      <a:lnTo>
                        <a:pt x="478" y="203"/>
                      </a:lnTo>
                      <a:lnTo>
                        <a:pt x="478" y="195"/>
                      </a:lnTo>
                      <a:lnTo>
                        <a:pt x="462" y="196"/>
                      </a:lnTo>
                      <a:lnTo>
                        <a:pt x="447" y="199"/>
                      </a:lnTo>
                      <a:lnTo>
                        <a:pt x="430" y="202"/>
                      </a:lnTo>
                      <a:lnTo>
                        <a:pt x="413" y="206"/>
                      </a:lnTo>
                      <a:lnTo>
                        <a:pt x="396" y="209"/>
                      </a:lnTo>
                      <a:lnTo>
                        <a:pt x="377" y="214"/>
                      </a:lnTo>
                      <a:lnTo>
                        <a:pt x="357" y="219"/>
                      </a:lnTo>
                      <a:lnTo>
                        <a:pt x="336" y="223"/>
                      </a:lnTo>
                      <a:lnTo>
                        <a:pt x="0" y="83"/>
                      </a:lnTo>
                      <a:lnTo>
                        <a:pt x="5" y="78"/>
                      </a:lnTo>
                      <a:lnTo>
                        <a:pt x="6" y="71"/>
                      </a:lnTo>
                      <a:lnTo>
                        <a:pt x="6" y="65"/>
                      </a:lnTo>
                      <a:lnTo>
                        <a:pt x="5" y="61"/>
                      </a:lnTo>
                      <a:lnTo>
                        <a:pt x="340" y="197"/>
                      </a:lnTo>
                      <a:lnTo>
                        <a:pt x="357" y="193"/>
                      </a:lnTo>
                      <a:lnTo>
                        <a:pt x="375" y="189"/>
                      </a:lnTo>
                      <a:lnTo>
                        <a:pt x="393" y="186"/>
                      </a:lnTo>
                      <a:lnTo>
                        <a:pt x="411" y="182"/>
                      </a:lnTo>
                      <a:lnTo>
                        <a:pt x="428" y="177"/>
                      </a:lnTo>
                      <a:lnTo>
                        <a:pt x="446" y="172"/>
                      </a:lnTo>
                      <a:lnTo>
                        <a:pt x="462" y="168"/>
                      </a:lnTo>
                      <a:lnTo>
                        <a:pt x="478" y="161"/>
                      </a:lnTo>
                      <a:lnTo>
                        <a:pt x="477" y="138"/>
                      </a:lnTo>
                      <a:lnTo>
                        <a:pt x="473" y="112"/>
                      </a:lnTo>
                      <a:lnTo>
                        <a:pt x="467" y="86"/>
                      </a:lnTo>
                      <a:lnTo>
                        <a:pt x="460" y="59"/>
                      </a:lnTo>
                      <a:lnTo>
                        <a:pt x="452" y="36"/>
                      </a:lnTo>
                      <a:lnTo>
                        <a:pt x="446" y="16"/>
                      </a:lnTo>
                      <a:lnTo>
                        <a:pt x="441" y="5"/>
                      </a:lnTo>
                      <a:lnTo>
                        <a:pt x="438" y="0"/>
                      </a:lnTo>
                      <a:lnTo>
                        <a:pt x="447" y="1"/>
                      </a:lnTo>
                      <a:lnTo>
                        <a:pt x="453" y="5"/>
                      </a:lnTo>
                      <a:lnTo>
                        <a:pt x="459" y="9"/>
                      </a:lnTo>
                      <a:lnTo>
                        <a:pt x="464" y="15"/>
                      </a:lnTo>
                      <a:lnTo>
                        <a:pt x="467" y="21"/>
                      </a:lnTo>
                      <a:lnTo>
                        <a:pt x="471" y="28"/>
                      </a:lnTo>
                      <a:lnTo>
                        <a:pt x="474" y="36"/>
                      </a:lnTo>
                      <a:lnTo>
                        <a:pt x="478" y="41"/>
                      </a:lnTo>
                      <a:close/>
                    </a:path>
                  </a:pathLst>
                </a:custGeom>
                <a:solidFill>
                  <a:srgbClr val="000000"/>
                </a:solidFill>
                <a:ln w="9525">
                  <a:noFill/>
                  <a:round/>
                  <a:headEnd/>
                  <a:tailEnd/>
                </a:ln>
              </p:spPr>
              <p:txBody>
                <a:bodyPr/>
                <a:lstStyle/>
                <a:p>
                  <a:endParaRPr lang="ja-JP" altLang="en-US" sz="1600" b="1">
                    <a:latin typeface="Times New Roman" charset="0"/>
                    <a:cs typeface="Times New Roman" charset="0"/>
                  </a:endParaRPr>
                </a:p>
              </p:txBody>
            </p:sp>
            <p:sp>
              <p:nvSpPr>
                <p:cNvPr id="46163" name="Freeform 155"/>
                <p:cNvSpPr>
                  <a:spLocks/>
                </p:cNvSpPr>
                <p:nvPr/>
              </p:nvSpPr>
              <p:spPr bwMode="auto">
                <a:xfrm>
                  <a:off x="4834" y="3524"/>
                  <a:ext cx="300" cy="145"/>
                </a:xfrm>
                <a:custGeom>
                  <a:avLst/>
                  <a:gdLst>
                    <a:gd name="T0" fmla="*/ 0 w 1801"/>
                    <a:gd name="T1" fmla="*/ 0 h 868"/>
                    <a:gd name="T2" fmla="*/ 0 w 1801"/>
                    <a:gd name="T3" fmla="*/ 0 h 868"/>
                    <a:gd name="T4" fmla="*/ 0 w 1801"/>
                    <a:gd name="T5" fmla="*/ 0 h 868"/>
                    <a:gd name="T6" fmla="*/ 0 w 1801"/>
                    <a:gd name="T7" fmla="*/ 0 h 868"/>
                    <a:gd name="T8" fmla="*/ 0 w 1801"/>
                    <a:gd name="T9" fmla="*/ 0 h 868"/>
                    <a:gd name="T10" fmla="*/ 0 w 1801"/>
                    <a:gd name="T11" fmla="*/ 0 h 868"/>
                    <a:gd name="T12" fmla="*/ 0 w 1801"/>
                    <a:gd name="T13" fmla="*/ 0 h 868"/>
                    <a:gd name="T14" fmla="*/ 0 w 1801"/>
                    <a:gd name="T15" fmla="*/ 0 h 868"/>
                    <a:gd name="T16" fmla="*/ 0 w 1801"/>
                    <a:gd name="T17" fmla="*/ 0 h 868"/>
                    <a:gd name="T18" fmla="*/ 0 w 1801"/>
                    <a:gd name="T19" fmla="*/ 0 h 868"/>
                    <a:gd name="T20" fmla="*/ 0 w 1801"/>
                    <a:gd name="T21" fmla="*/ 0 h 868"/>
                    <a:gd name="T22" fmla="*/ 0 w 1801"/>
                    <a:gd name="T23" fmla="*/ 0 h 868"/>
                    <a:gd name="T24" fmla="*/ 0 w 1801"/>
                    <a:gd name="T25" fmla="*/ 0 h 868"/>
                    <a:gd name="T26" fmla="*/ 0 w 1801"/>
                    <a:gd name="T27" fmla="*/ 0 h 868"/>
                    <a:gd name="T28" fmla="*/ 0 w 1801"/>
                    <a:gd name="T29" fmla="*/ 0 h 868"/>
                    <a:gd name="T30" fmla="*/ 0 w 1801"/>
                    <a:gd name="T31" fmla="*/ 0 h 868"/>
                    <a:gd name="T32" fmla="*/ 0 w 1801"/>
                    <a:gd name="T33" fmla="*/ 0 h 868"/>
                    <a:gd name="T34" fmla="*/ 0 w 1801"/>
                    <a:gd name="T35" fmla="*/ 0 h 868"/>
                    <a:gd name="T36" fmla="*/ 0 w 1801"/>
                    <a:gd name="T37" fmla="*/ 0 h 868"/>
                    <a:gd name="T38" fmla="*/ 0 w 1801"/>
                    <a:gd name="T39" fmla="*/ 0 h 868"/>
                    <a:gd name="T40" fmla="*/ 0 w 1801"/>
                    <a:gd name="T41" fmla="*/ 0 h 868"/>
                    <a:gd name="T42" fmla="*/ 0 w 1801"/>
                    <a:gd name="T43" fmla="*/ 0 h 868"/>
                    <a:gd name="T44" fmla="*/ 0 w 1801"/>
                    <a:gd name="T45" fmla="*/ 0 h 868"/>
                    <a:gd name="T46" fmla="*/ 0 w 1801"/>
                    <a:gd name="T47" fmla="*/ 0 h 868"/>
                    <a:gd name="T48" fmla="*/ 0 w 1801"/>
                    <a:gd name="T49" fmla="*/ 0 h 868"/>
                    <a:gd name="T50" fmla="*/ 0 w 1801"/>
                    <a:gd name="T51" fmla="*/ 0 h 868"/>
                    <a:gd name="T52" fmla="*/ 0 w 1801"/>
                    <a:gd name="T53" fmla="*/ 0 h 868"/>
                    <a:gd name="T54" fmla="*/ 0 w 1801"/>
                    <a:gd name="T55" fmla="*/ 0 h 868"/>
                    <a:gd name="T56" fmla="*/ 0 w 1801"/>
                    <a:gd name="T57" fmla="*/ 0 h 868"/>
                    <a:gd name="T58" fmla="*/ 0 w 1801"/>
                    <a:gd name="T59" fmla="*/ 0 h 868"/>
                    <a:gd name="T60" fmla="*/ 0 w 1801"/>
                    <a:gd name="T61" fmla="*/ 0 h 868"/>
                    <a:gd name="T62" fmla="*/ 0 w 1801"/>
                    <a:gd name="T63" fmla="*/ 0 h 868"/>
                    <a:gd name="T64" fmla="*/ 0 w 1801"/>
                    <a:gd name="T65" fmla="*/ 0 h 868"/>
                    <a:gd name="T66" fmla="*/ 0 w 1801"/>
                    <a:gd name="T67" fmla="*/ 0 h 868"/>
                    <a:gd name="T68" fmla="*/ 0 w 1801"/>
                    <a:gd name="T69" fmla="*/ 0 h 868"/>
                    <a:gd name="T70" fmla="*/ 0 w 1801"/>
                    <a:gd name="T71" fmla="*/ 0 h 868"/>
                    <a:gd name="T72" fmla="*/ 0 w 1801"/>
                    <a:gd name="T73" fmla="*/ 0 h 868"/>
                    <a:gd name="T74" fmla="*/ 0 w 1801"/>
                    <a:gd name="T75" fmla="*/ 0 h 868"/>
                    <a:gd name="T76" fmla="*/ 0 w 1801"/>
                    <a:gd name="T77" fmla="*/ 0 h 868"/>
                    <a:gd name="T78" fmla="*/ 0 w 1801"/>
                    <a:gd name="T79" fmla="*/ 0 h 868"/>
                    <a:gd name="T80" fmla="*/ 0 w 1801"/>
                    <a:gd name="T81" fmla="*/ 0 h 868"/>
                    <a:gd name="T82" fmla="*/ 0 w 1801"/>
                    <a:gd name="T83" fmla="*/ 0 h 868"/>
                    <a:gd name="T84" fmla="*/ 0 w 1801"/>
                    <a:gd name="T85" fmla="*/ 0 h 868"/>
                    <a:gd name="T86" fmla="*/ 0 w 1801"/>
                    <a:gd name="T87" fmla="*/ 0 h 868"/>
                    <a:gd name="T88" fmla="*/ 0 w 1801"/>
                    <a:gd name="T89" fmla="*/ 0 h 868"/>
                    <a:gd name="T90" fmla="*/ 0 w 1801"/>
                    <a:gd name="T91" fmla="*/ 0 h 868"/>
                    <a:gd name="T92" fmla="*/ 0 w 1801"/>
                    <a:gd name="T93" fmla="*/ 0 h 868"/>
                    <a:gd name="T94" fmla="*/ 0 w 1801"/>
                    <a:gd name="T95" fmla="*/ 0 h 868"/>
                    <a:gd name="T96" fmla="*/ 0 w 1801"/>
                    <a:gd name="T97" fmla="*/ 0 h 868"/>
                    <a:gd name="T98" fmla="*/ 0 w 1801"/>
                    <a:gd name="T99" fmla="*/ 0 h 868"/>
                    <a:gd name="T100" fmla="*/ 0 w 1801"/>
                    <a:gd name="T101" fmla="*/ 0 h 868"/>
                    <a:gd name="T102" fmla="*/ 0 w 1801"/>
                    <a:gd name="T103" fmla="*/ 0 h 868"/>
                    <a:gd name="T104" fmla="*/ 0 w 1801"/>
                    <a:gd name="T105" fmla="*/ 0 h 868"/>
                    <a:gd name="T106" fmla="*/ 0 w 1801"/>
                    <a:gd name="T107" fmla="*/ 0 h 868"/>
                    <a:gd name="T108" fmla="*/ 0 w 1801"/>
                    <a:gd name="T109" fmla="*/ 0 h 868"/>
                    <a:gd name="T110" fmla="*/ 0 w 1801"/>
                    <a:gd name="T111" fmla="*/ 0 h 868"/>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1801"/>
                    <a:gd name="T169" fmla="*/ 0 h 868"/>
                    <a:gd name="T170" fmla="*/ 1801 w 1801"/>
                    <a:gd name="T171" fmla="*/ 868 h 868"/>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1801" h="868">
                      <a:moveTo>
                        <a:pt x="1546" y="6"/>
                      </a:moveTo>
                      <a:lnTo>
                        <a:pt x="1546" y="12"/>
                      </a:lnTo>
                      <a:lnTo>
                        <a:pt x="1543" y="19"/>
                      </a:lnTo>
                      <a:lnTo>
                        <a:pt x="1537" y="29"/>
                      </a:lnTo>
                      <a:lnTo>
                        <a:pt x="1531" y="38"/>
                      </a:lnTo>
                      <a:lnTo>
                        <a:pt x="1524" y="46"/>
                      </a:lnTo>
                      <a:lnTo>
                        <a:pt x="1518" y="54"/>
                      </a:lnTo>
                      <a:lnTo>
                        <a:pt x="1514" y="58"/>
                      </a:lnTo>
                      <a:lnTo>
                        <a:pt x="1512" y="61"/>
                      </a:lnTo>
                      <a:lnTo>
                        <a:pt x="1411" y="394"/>
                      </a:lnTo>
                      <a:lnTo>
                        <a:pt x="1404" y="409"/>
                      </a:lnTo>
                      <a:lnTo>
                        <a:pt x="1403" y="423"/>
                      </a:lnTo>
                      <a:lnTo>
                        <a:pt x="1405" y="436"/>
                      </a:lnTo>
                      <a:lnTo>
                        <a:pt x="1410" y="450"/>
                      </a:lnTo>
                      <a:lnTo>
                        <a:pt x="1417" y="465"/>
                      </a:lnTo>
                      <a:lnTo>
                        <a:pt x="1423" y="479"/>
                      </a:lnTo>
                      <a:lnTo>
                        <a:pt x="1429" y="493"/>
                      </a:lnTo>
                      <a:lnTo>
                        <a:pt x="1433" y="509"/>
                      </a:lnTo>
                      <a:lnTo>
                        <a:pt x="1435" y="530"/>
                      </a:lnTo>
                      <a:lnTo>
                        <a:pt x="1434" y="551"/>
                      </a:lnTo>
                      <a:lnTo>
                        <a:pt x="1425" y="571"/>
                      </a:lnTo>
                      <a:lnTo>
                        <a:pt x="1409" y="582"/>
                      </a:lnTo>
                      <a:lnTo>
                        <a:pt x="1400" y="580"/>
                      </a:lnTo>
                      <a:lnTo>
                        <a:pt x="1398" y="571"/>
                      </a:lnTo>
                      <a:lnTo>
                        <a:pt x="1398" y="562"/>
                      </a:lnTo>
                      <a:lnTo>
                        <a:pt x="1398" y="557"/>
                      </a:lnTo>
                      <a:lnTo>
                        <a:pt x="1405" y="547"/>
                      </a:lnTo>
                      <a:lnTo>
                        <a:pt x="1406" y="535"/>
                      </a:lnTo>
                      <a:lnTo>
                        <a:pt x="1405" y="523"/>
                      </a:lnTo>
                      <a:lnTo>
                        <a:pt x="1400" y="511"/>
                      </a:lnTo>
                      <a:lnTo>
                        <a:pt x="1396" y="501"/>
                      </a:lnTo>
                      <a:lnTo>
                        <a:pt x="1390" y="492"/>
                      </a:lnTo>
                      <a:lnTo>
                        <a:pt x="1383" y="485"/>
                      </a:lnTo>
                      <a:lnTo>
                        <a:pt x="1374" y="479"/>
                      </a:lnTo>
                      <a:lnTo>
                        <a:pt x="1367" y="494"/>
                      </a:lnTo>
                      <a:lnTo>
                        <a:pt x="1359" y="510"/>
                      </a:lnTo>
                      <a:lnTo>
                        <a:pt x="1349" y="524"/>
                      </a:lnTo>
                      <a:lnTo>
                        <a:pt x="1340" y="538"/>
                      </a:lnTo>
                      <a:lnTo>
                        <a:pt x="1330" y="553"/>
                      </a:lnTo>
                      <a:lnTo>
                        <a:pt x="1318" y="567"/>
                      </a:lnTo>
                      <a:lnTo>
                        <a:pt x="1308" y="580"/>
                      </a:lnTo>
                      <a:lnTo>
                        <a:pt x="1294" y="592"/>
                      </a:lnTo>
                      <a:lnTo>
                        <a:pt x="1311" y="617"/>
                      </a:lnTo>
                      <a:lnTo>
                        <a:pt x="1329" y="641"/>
                      </a:lnTo>
                      <a:lnTo>
                        <a:pt x="1348" y="663"/>
                      </a:lnTo>
                      <a:lnTo>
                        <a:pt x="1368" y="685"/>
                      </a:lnTo>
                      <a:lnTo>
                        <a:pt x="1389" y="705"/>
                      </a:lnTo>
                      <a:lnTo>
                        <a:pt x="1410" y="725"/>
                      </a:lnTo>
                      <a:lnTo>
                        <a:pt x="1433" y="743"/>
                      </a:lnTo>
                      <a:lnTo>
                        <a:pt x="1456" y="761"/>
                      </a:lnTo>
                      <a:lnTo>
                        <a:pt x="1480" y="777"/>
                      </a:lnTo>
                      <a:lnTo>
                        <a:pt x="1505" y="791"/>
                      </a:lnTo>
                      <a:lnTo>
                        <a:pt x="1531" y="803"/>
                      </a:lnTo>
                      <a:lnTo>
                        <a:pt x="1558" y="815"/>
                      </a:lnTo>
                      <a:lnTo>
                        <a:pt x="1584" y="823"/>
                      </a:lnTo>
                      <a:lnTo>
                        <a:pt x="1611" y="831"/>
                      </a:lnTo>
                      <a:lnTo>
                        <a:pt x="1640" y="837"/>
                      </a:lnTo>
                      <a:lnTo>
                        <a:pt x="1669" y="841"/>
                      </a:lnTo>
                      <a:lnTo>
                        <a:pt x="1685" y="842"/>
                      </a:lnTo>
                      <a:lnTo>
                        <a:pt x="1702" y="843"/>
                      </a:lnTo>
                      <a:lnTo>
                        <a:pt x="1719" y="843"/>
                      </a:lnTo>
                      <a:lnTo>
                        <a:pt x="1735" y="842"/>
                      </a:lnTo>
                      <a:lnTo>
                        <a:pt x="1752" y="841"/>
                      </a:lnTo>
                      <a:lnTo>
                        <a:pt x="1769" y="840"/>
                      </a:lnTo>
                      <a:lnTo>
                        <a:pt x="1785" y="839"/>
                      </a:lnTo>
                      <a:lnTo>
                        <a:pt x="1801" y="839"/>
                      </a:lnTo>
                      <a:lnTo>
                        <a:pt x="1798" y="843"/>
                      </a:lnTo>
                      <a:lnTo>
                        <a:pt x="1795" y="847"/>
                      </a:lnTo>
                      <a:lnTo>
                        <a:pt x="1790" y="849"/>
                      </a:lnTo>
                      <a:lnTo>
                        <a:pt x="1784" y="852"/>
                      </a:lnTo>
                      <a:lnTo>
                        <a:pt x="1778" y="853"/>
                      </a:lnTo>
                      <a:lnTo>
                        <a:pt x="1773" y="855"/>
                      </a:lnTo>
                      <a:lnTo>
                        <a:pt x="1767" y="858"/>
                      </a:lnTo>
                      <a:lnTo>
                        <a:pt x="1763" y="860"/>
                      </a:lnTo>
                      <a:lnTo>
                        <a:pt x="1714" y="866"/>
                      </a:lnTo>
                      <a:lnTo>
                        <a:pt x="1667" y="868"/>
                      </a:lnTo>
                      <a:lnTo>
                        <a:pt x="1623" y="867"/>
                      </a:lnTo>
                      <a:lnTo>
                        <a:pt x="1582" y="862"/>
                      </a:lnTo>
                      <a:lnTo>
                        <a:pt x="1543" y="855"/>
                      </a:lnTo>
                      <a:lnTo>
                        <a:pt x="1508" y="844"/>
                      </a:lnTo>
                      <a:lnTo>
                        <a:pt x="1474" y="833"/>
                      </a:lnTo>
                      <a:lnTo>
                        <a:pt x="1442" y="817"/>
                      </a:lnTo>
                      <a:lnTo>
                        <a:pt x="1414" y="799"/>
                      </a:lnTo>
                      <a:lnTo>
                        <a:pt x="1386" y="779"/>
                      </a:lnTo>
                      <a:lnTo>
                        <a:pt x="1361" y="758"/>
                      </a:lnTo>
                      <a:lnTo>
                        <a:pt x="1338" y="734"/>
                      </a:lnTo>
                      <a:lnTo>
                        <a:pt x="1317" y="710"/>
                      </a:lnTo>
                      <a:lnTo>
                        <a:pt x="1298" y="684"/>
                      </a:lnTo>
                      <a:lnTo>
                        <a:pt x="1280" y="656"/>
                      </a:lnTo>
                      <a:lnTo>
                        <a:pt x="1263" y="628"/>
                      </a:lnTo>
                      <a:lnTo>
                        <a:pt x="1257" y="622"/>
                      </a:lnTo>
                      <a:lnTo>
                        <a:pt x="1252" y="619"/>
                      </a:lnTo>
                      <a:lnTo>
                        <a:pt x="1243" y="619"/>
                      </a:lnTo>
                      <a:lnTo>
                        <a:pt x="1235" y="623"/>
                      </a:lnTo>
                      <a:lnTo>
                        <a:pt x="1226" y="627"/>
                      </a:lnTo>
                      <a:lnTo>
                        <a:pt x="1217" y="631"/>
                      </a:lnTo>
                      <a:lnTo>
                        <a:pt x="1209" y="635"/>
                      </a:lnTo>
                      <a:lnTo>
                        <a:pt x="1200" y="637"/>
                      </a:lnTo>
                      <a:lnTo>
                        <a:pt x="1178" y="641"/>
                      </a:lnTo>
                      <a:lnTo>
                        <a:pt x="1157" y="649"/>
                      </a:lnTo>
                      <a:lnTo>
                        <a:pt x="1137" y="660"/>
                      </a:lnTo>
                      <a:lnTo>
                        <a:pt x="1119" y="674"/>
                      </a:lnTo>
                      <a:lnTo>
                        <a:pt x="1103" y="690"/>
                      </a:lnTo>
                      <a:lnTo>
                        <a:pt x="1088" y="708"/>
                      </a:lnTo>
                      <a:lnTo>
                        <a:pt x="1075" y="725"/>
                      </a:lnTo>
                      <a:lnTo>
                        <a:pt x="1064" y="743"/>
                      </a:lnTo>
                      <a:lnTo>
                        <a:pt x="1064" y="734"/>
                      </a:lnTo>
                      <a:lnTo>
                        <a:pt x="1069" y="703"/>
                      </a:lnTo>
                      <a:lnTo>
                        <a:pt x="1079" y="667"/>
                      </a:lnTo>
                      <a:lnTo>
                        <a:pt x="1094" y="637"/>
                      </a:lnTo>
                      <a:lnTo>
                        <a:pt x="1070" y="628"/>
                      </a:lnTo>
                      <a:lnTo>
                        <a:pt x="1048" y="615"/>
                      </a:lnTo>
                      <a:lnTo>
                        <a:pt x="1025" y="600"/>
                      </a:lnTo>
                      <a:lnTo>
                        <a:pt x="1004" y="584"/>
                      </a:lnTo>
                      <a:lnTo>
                        <a:pt x="982" y="566"/>
                      </a:lnTo>
                      <a:lnTo>
                        <a:pt x="961" y="547"/>
                      </a:lnTo>
                      <a:lnTo>
                        <a:pt x="942" y="528"/>
                      </a:lnTo>
                      <a:lnTo>
                        <a:pt x="923" y="509"/>
                      </a:lnTo>
                      <a:lnTo>
                        <a:pt x="901" y="512"/>
                      </a:lnTo>
                      <a:lnTo>
                        <a:pt x="879" y="518"/>
                      </a:lnTo>
                      <a:lnTo>
                        <a:pt x="858" y="524"/>
                      </a:lnTo>
                      <a:lnTo>
                        <a:pt x="837" y="531"/>
                      </a:lnTo>
                      <a:lnTo>
                        <a:pt x="817" y="540"/>
                      </a:lnTo>
                      <a:lnTo>
                        <a:pt x="796" y="548"/>
                      </a:lnTo>
                      <a:lnTo>
                        <a:pt x="777" y="559"/>
                      </a:lnTo>
                      <a:lnTo>
                        <a:pt x="758" y="571"/>
                      </a:lnTo>
                      <a:lnTo>
                        <a:pt x="739" y="582"/>
                      </a:lnTo>
                      <a:lnTo>
                        <a:pt x="721" y="596"/>
                      </a:lnTo>
                      <a:lnTo>
                        <a:pt x="703" y="610"/>
                      </a:lnTo>
                      <a:lnTo>
                        <a:pt x="687" y="624"/>
                      </a:lnTo>
                      <a:lnTo>
                        <a:pt x="670" y="641"/>
                      </a:lnTo>
                      <a:lnTo>
                        <a:pt x="655" y="657"/>
                      </a:lnTo>
                      <a:lnTo>
                        <a:pt x="639" y="675"/>
                      </a:lnTo>
                      <a:lnTo>
                        <a:pt x="625" y="693"/>
                      </a:lnTo>
                      <a:lnTo>
                        <a:pt x="616" y="706"/>
                      </a:lnTo>
                      <a:lnTo>
                        <a:pt x="608" y="721"/>
                      </a:lnTo>
                      <a:lnTo>
                        <a:pt x="601" y="735"/>
                      </a:lnTo>
                      <a:lnTo>
                        <a:pt x="595" y="748"/>
                      </a:lnTo>
                      <a:lnTo>
                        <a:pt x="589" y="762"/>
                      </a:lnTo>
                      <a:lnTo>
                        <a:pt x="583" y="777"/>
                      </a:lnTo>
                      <a:lnTo>
                        <a:pt x="578" y="792"/>
                      </a:lnTo>
                      <a:lnTo>
                        <a:pt x="574" y="806"/>
                      </a:lnTo>
                      <a:lnTo>
                        <a:pt x="565" y="800"/>
                      </a:lnTo>
                      <a:lnTo>
                        <a:pt x="560" y="791"/>
                      </a:lnTo>
                      <a:lnTo>
                        <a:pt x="558" y="780"/>
                      </a:lnTo>
                      <a:lnTo>
                        <a:pt x="555" y="769"/>
                      </a:lnTo>
                      <a:lnTo>
                        <a:pt x="555" y="734"/>
                      </a:lnTo>
                      <a:lnTo>
                        <a:pt x="560" y="702"/>
                      </a:lnTo>
                      <a:lnTo>
                        <a:pt x="572" y="671"/>
                      </a:lnTo>
                      <a:lnTo>
                        <a:pt x="590" y="642"/>
                      </a:lnTo>
                      <a:lnTo>
                        <a:pt x="611" y="616"/>
                      </a:lnTo>
                      <a:lnTo>
                        <a:pt x="636" y="592"/>
                      </a:lnTo>
                      <a:lnTo>
                        <a:pt x="662" y="571"/>
                      </a:lnTo>
                      <a:lnTo>
                        <a:pt x="690" y="550"/>
                      </a:lnTo>
                      <a:lnTo>
                        <a:pt x="702" y="543"/>
                      </a:lnTo>
                      <a:lnTo>
                        <a:pt x="715" y="537"/>
                      </a:lnTo>
                      <a:lnTo>
                        <a:pt x="727" y="531"/>
                      </a:lnTo>
                      <a:lnTo>
                        <a:pt x="740" y="525"/>
                      </a:lnTo>
                      <a:lnTo>
                        <a:pt x="753" y="521"/>
                      </a:lnTo>
                      <a:lnTo>
                        <a:pt x="767" y="516"/>
                      </a:lnTo>
                      <a:lnTo>
                        <a:pt x="780" y="511"/>
                      </a:lnTo>
                      <a:lnTo>
                        <a:pt x="793" y="506"/>
                      </a:lnTo>
                      <a:lnTo>
                        <a:pt x="806" y="503"/>
                      </a:lnTo>
                      <a:lnTo>
                        <a:pt x="819" y="499"/>
                      </a:lnTo>
                      <a:lnTo>
                        <a:pt x="833" y="494"/>
                      </a:lnTo>
                      <a:lnTo>
                        <a:pt x="846" y="491"/>
                      </a:lnTo>
                      <a:lnTo>
                        <a:pt x="861" y="487"/>
                      </a:lnTo>
                      <a:lnTo>
                        <a:pt x="874" y="484"/>
                      </a:lnTo>
                      <a:lnTo>
                        <a:pt x="888" y="480"/>
                      </a:lnTo>
                      <a:lnTo>
                        <a:pt x="901" y="476"/>
                      </a:lnTo>
                      <a:lnTo>
                        <a:pt x="895" y="463"/>
                      </a:lnTo>
                      <a:lnTo>
                        <a:pt x="888" y="449"/>
                      </a:lnTo>
                      <a:lnTo>
                        <a:pt x="881" y="435"/>
                      </a:lnTo>
                      <a:lnTo>
                        <a:pt x="874" y="422"/>
                      </a:lnTo>
                      <a:lnTo>
                        <a:pt x="867" y="407"/>
                      </a:lnTo>
                      <a:lnTo>
                        <a:pt x="861" y="393"/>
                      </a:lnTo>
                      <a:lnTo>
                        <a:pt x="854" y="378"/>
                      </a:lnTo>
                      <a:lnTo>
                        <a:pt x="849" y="363"/>
                      </a:lnTo>
                      <a:lnTo>
                        <a:pt x="600" y="444"/>
                      </a:lnTo>
                      <a:lnTo>
                        <a:pt x="591" y="441"/>
                      </a:lnTo>
                      <a:lnTo>
                        <a:pt x="571" y="432"/>
                      </a:lnTo>
                      <a:lnTo>
                        <a:pt x="541" y="422"/>
                      </a:lnTo>
                      <a:lnTo>
                        <a:pt x="502" y="407"/>
                      </a:lnTo>
                      <a:lnTo>
                        <a:pt x="457" y="391"/>
                      </a:lnTo>
                      <a:lnTo>
                        <a:pt x="406" y="374"/>
                      </a:lnTo>
                      <a:lnTo>
                        <a:pt x="352" y="355"/>
                      </a:lnTo>
                      <a:lnTo>
                        <a:pt x="297" y="336"/>
                      </a:lnTo>
                      <a:lnTo>
                        <a:pt x="241" y="317"/>
                      </a:lnTo>
                      <a:lnTo>
                        <a:pt x="188" y="299"/>
                      </a:lnTo>
                      <a:lnTo>
                        <a:pt x="138" y="282"/>
                      </a:lnTo>
                      <a:lnTo>
                        <a:pt x="92" y="267"/>
                      </a:lnTo>
                      <a:lnTo>
                        <a:pt x="55" y="254"/>
                      </a:lnTo>
                      <a:lnTo>
                        <a:pt x="26" y="244"/>
                      </a:lnTo>
                      <a:lnTo>
                        <a:pt x="8" y="238"/>
                      </a:lnTo>
                      <a:lnTo>
                        <a:pt x="0" y="236"/>
                      </a:lnTo>
                      <a:lnTo>
                        <a:pt x="0" y="208"/>
                      </a:lnTo>
                      <a:lnTo>
                        <a:pt x="589" y="416"/>
                      </a:lnTo>
                      <a:lnTo>
                        <a:pt x="840" y="331"/>
                      </a:lnTo>
                      <a:lnTo>
                        <a:pt x="836" y="316"/>
                      </a:lnTo>
                      <a:lnTo>
                        <a:pt x="833" y="298"/>
                      </a:lnTo>
                      <a:lnTo>
                        <a:pt x="827" y="283"/>
                      </a:lnTo>
                      <a:lnTo>
                        <a:pt x="814" y="280"/>
                      </a:lnTo>
                      <a:lnTo>
                        <a:pt x="602" y="351"/>
                      </a:lnTo>
                      <a:lnTo>
                        <a:pt x="593" y="353"/>
                      </a:lnTo>
                      <a:lnTo>
                        <a:pt x="571" y="348"/>
                      </a:lnTo>
                      <a:lnTo>
                        <a:pt x="541" y="341"/>
                      </a:lnTo>
                      <a:lnTo>
                        <a:pt x="502" y="331"/>
                      </a:lnTo>
                      <a:lnTo>
                        <a:pt x="457" y="318"/>
                      </a:lnTo>
                      <a:lnTo>
                        <a:pt x="407" y="304"/>
                      </a:lnTo>
                      <a:lnTo>
                        <a:pt x="354" y="287"/>
                      </a:lnTo>
                      <a:lnTo>
                        <a:pt x="300" y="270"/>
                      </a:lnTo>
                      <a:lnTo>
                        <a:pt x="246" y="254"/>
                      </a:lnTo>
                      <a:lnTo>
                        <a:pt x="194" y="237"/>
                      </a:lnTo>
                      <a:lnTo>
                        <a:pt x="145" y="220"/>
                      </a:lnTo>
                      <a:lnTo>
                        <a:pt x="101" y="207"/>
                      </a:lnTo>
                      <a:lnTo>
                        <a:pt x="64" y="195"/>
                      </a:lnTo>
                      <a:lnTo>
                        <a:pt x="36" y="186"/>
                      </a:lnTo>
                      <a:lnTo>
                        <a:pt x="17" y="180"/>
                      </a:lnTo>
                      <a:lnTo>
                        <a:pt x="11" y="177"/>
                      </a:lnTo>
                      <a:lnTo>
                        <a:pt x="8" y="177"/>
                      </a:lnTo>
                      <a:lnTo>
                        <a:pt x="5" y="170"/>
                      </a:lnTo>
                      <a:lnTo>
                        <a:pt x="5" y="163"/>
                      </a:lnTo>
                      <a:lnTo>
                        <a:pt x="5" y="156"/>
                      </a:lnTo>
                      <a:lnTo>
                        <a:pt x="5" y="148"/>
                      </a:lnTo>
                      <a:lnTo>
                        <a:pt x="589" y="325"/>
                      </a:lnTo>
                      <a:lnTo>
                        <a:pt x="813" y="251"/>
                      </a:lnTo>
                      <a:lnTo>
                        <a:pt x="821" y="244"/>
                      </a:lnTo>
                      <a:lnTo>
                        <a:pt x="833" y="236"/>
                      </a:lnTo>
                      <a:lnTo>
                        <a:pt x="848" y="228"/>
                      </a:lnTo>
                      <a:lnTo>
                        <a:pt x="863" y="219"/>
                      </a:lnTo>
                      <a:lnTo>
                        <a:pt x="879" y="211"/>
                      </a:lnTo>
                      <a:lnTo>
                        <a:pt x="894" y="203"/>
                      </a:lnTo>
                      <a:lnTo>
                        <a:pt x="907" y="197"/>
                      </a:lnTo>
                      <a:lnTo>
                        <a:pt x="919" y="192"/>
                      </a:lnTo>
                      <a:lnTo>
                        <a:pt x="923" y="199"/>
                      </a:lnTo>
                      <a:lnTo>
                        <a:pt x="921" y="206"/>
                      </a:lnTo>
                      <a:lnTo>
                        <a:pt x="917" y="212"/>
                      </a:lnTo>
                      <a:lnTo>
                        <a:pt x="911" y="219"/>
                      </a:lnTo>
                      <a:lnTo>
                        <a:pt x="905" y="225"/>
                      </a:lnTo>
                      <a:lnTo>
                        <a:pt x="898" y="231"/>
                      </a:lnTo>
                      <a:lnTo>
                        <a:pt x="892" y="237"/>
                      </a:lnTo>
                      <a:lnTo>
                        <a:pt x="888" y="244"/>
                      </a:lnTo>
                      <a:lnTo>
                        <a:pt x="877" y="262"/>
                      </a:lnTo>
                      <a:lnTo>
                        <a:pt x="871" y="278"/>
                      </a:lnTo>
                      <a:lnTo>
                        <a:pt x="871" y="293"/>
                      </a:lnTo>
                      <a:lnTo>
                        <a:pt x="875" y="310"/>
                      </a:lnTo>
                      <a:lnTo>
                        <a:pt x="882" y="326"/>
                      </a:lnTo>
                      <a:lnTo>
                        <a:pt x="892" y="344"/>
                      </a:lnTo>
                      <a:lnTo>
                        <a:pt x="904" y="366"/>
                      </a:lnTo>
                      <a:lnTo>
                        <a:pt x="917" y="390"/>
                      </a:lnTo>
                      <a:lnTo>
                        <a:pt x="932" y="415"/>
                      </a:lnTo>
                      <a:lnTo>
                        <a:pt x="948" y="438"/>
                      </a:lnTo>
                      <a:lnTo>
                        <a:pt x="964" y="462"/>
                      </a:lnTo>
                      <a:lnTo>
                        <a:pt x="982" y="485"/>
                      </a:lnTo>
                      <a:lnTo>
                        <a:pt x="1000" y="507"/>
                      </a:lnTo>
                      <a:lnTo>
                        <a:pt x="1019" y="530"/>
                      </a:lnTo>
                      <a:lnTo>
                        <a:pt x="1041" y="550"/>
                      </a:lnTo>
                      <a:lnTo>
                        <a:pt x="1062" y="571"/>
                      </a:lnTo>
                      <a:lnTo>
                        <a:pt x="1076" y="576"/>
                      </a:lnTo>
                      <a:lnTo>
                        <a:pt x="1092" y="582"/>
                      </a:lnTo>
                      <a:lnTo>
                        <a:pt x="1106" y="587"/>
                      </a:lnTo>
                      <a:lnTo>
                        <a:pt x="1122" y="592"/>
                      </a:lnTo>
                      <a:lnTo>
                        <a:pt x="1138" y="594"/>
                      </a:lnTo>
                      <a:lnTo>
                        <a:pt x="1154" y="596"/>
                      </a:lnTo>
                      <a:lnTo>
                        <a:pt x="1170" y="594"/>
                      </a:lnTo>
                      <a:lnTo>
                        <a:pt x="1187" y="592"/>
                      </a:lnTo>
                      <a:lnTo>
                        <a:pt x="1210" y="580"/>
                      </a:lnTo>
                      <a:lnTo>
                        <a:pt x="1231" y="566"/>
                      </a:lnTo>
                      <a:lnTo>
                        <a:pt x="1252" y="550"/>
                      </a:lnTo>
                      <a:lnTo>
                        <a:pt x="1272" y="531"/>
                      </a:lnTo>
                      <a:lnTo>
                        <a:pt x="1290" y="512"/>
                      </a:lnTo>
                      <a:lnTo>
                        <a:pt x="1306" y="492"/>
                      </a:lnTo>
                      <a:lnTo>
                        <a:pt x="1321" y="469"/>
                      </a:lnTo>
                      <a:lnTo>
                        <a:pt x="1333" y="447"/>
                      </a:lnTo>
                      <a:lnTo>
                        <a:pt x="1472" y="35"/>
                      </a:lnTo>
                      <a:lnTo>
                        <a:pt x="1479" y="27"/>
                      </a:lnTo>
                      <a:lnTo>
                        <a:pt x="1487" y="19"/>
                      </a:lnTo>
                      <a:lnTo>
                        <a:pt x="1496" y="12"/>
                      </a:lnTo>
                      <a:lnTo>
                        <a:pt x="1504" y="6"/>
                      </a:lnTo>
                      <a:lnTo>
                        <a:pt x="1514" y="1"/>
                      </a:lnTo>
                      <a:lnTo>
                        <a:pt x="1524" y="0"/>
                      </a:lnTo>
                      <a:lnTo>
                        <a:pt x="1535" y="1"/>
                      </a:lnTo>
                      <a:lnTo>
                        <a:pt x="1546" y="6"/>
                      </a:lnTo>
                      <a:close/>
                    </a:path>
                  </a:pathLst>
                </a:custGeom>
                <a:solidFill>
                  <a:srgbClr val="000000"/>
                </a:solidFill>
                <a:ln w="9525">
                  <a:noFill/>
                  <a:round/>
                  <a:headEnd/>
                  <a:tailEnd/>
                </a:ln>
              </p:spPr>
              <p:txBody>
                <a:bodyPr/>
                <a:lstStyle/>
                <a:p>
                  <a:endParaRPr lang="ja-JP" altLang="en-US" sz="1600" b="1">
                    <a:latin typeface="Times New Roman" charset="0"/>
                    <a:cs typeface="Times New Roman" charset="0"/>
                  </a:endParaRPr>
                </a:p>
              </p:txBody>
            </p:sp>
            <p:sp>
              <p:nvSpPr>
                <p:cNvPr id="46164" name="Freeform 156"/>
                <p:cNvSpPr>
                  <a:spLocks/>
                </p:cNvSpPr>
                <p:nvPr/>
              </p:nvSpPr>
              <p:spPr bwMode="auto">
                <a:xfrm>
                  <a:off x="5086" y="3525"/>
                  <a:ext cx="125" cy="155"/>
                </a:xfrm>
                <a:custGeom>
                  <a:avLst/>
                  <a:gdLst>
                    <a:gd name="T0" fmla="*/ 0 w 747"/>
                    <a:gd name="T1" fmla="*/ 0 h 934"/>
                    <a:gd name="T2" fmla="*/ 0 w 747"/>
                    <a:gd name="T3" fmla="*/ 0 h 934"/>
                    <a:gd name="T4" fmla="*/ 0 w 747"/>
                    <a:gd name="T5" fmla="*/ 0 h 934"/>
                    <a:gd name="T6" fmla="*/ 0 w 747"/>
                    <a:gd name="T7" fmla="*/ 0 h 934"/>
                    <a:gd name="T8" fmla="*/ 0 w 747"/>
                    <a:gd name="T9" fmla="*/ 0 h 934"/>
                    <a:gd name="T10" fmla="*/ 0 w 747"/>
                    <a:gd name="T11" fmla="*/ 0 h 934"/>
                    <a:gd name="T12" fmla="*/ 0 w 747"/>
                    <a:gd name="T13" fmla="*/ 0 h 934"/>
                    <a:gd name="T14" fmla="*/ 0 w 747"/>
                    <a:gd name="T15" fmla="*/ 0 h 934"/>
                    <a:gd name="T16" fmla="*/ 0 w 747"/>
                    <a:gd name="T17" fmla="*/ 0 h 934"/>
                    <a:gd name="T18" fmla="*/ 0 w 747"/>
                    <a:gd name="T19" fmla="*/ 0 h 934"/>
                    <a:gd name="T20" fmla="*/ 0 w 747"/>
                    <a:gd name="T21" fmla="*/ 0 h 934"/>
                    <a:gd name="T22" fmla="*/ 0 w 747"/>
                    <a:gd name="T23" fmla="*/ 0 h 934"/>
                    <a:gd name="T24" fmla="*/ 0 w 747"/>
                    <a:gd name="T25" fmla="*/ 0 h 934"/>
                    <a:gd name="T26" fmla="*/ 0 w 747"/>
                    <a:gd name="T27" fmla="*/ 0 h 934"/>
                    <a:gd name="T28" fmla="*/ 0 w 747"/>
                    <a:gd name="T29" fmla="*/ 0 h 934"/>
                    <a:gd name="T30" fmla="*/ 0 w 747"/>
                    <a:gd name="T31" fmla="*/ 0 h 934"/>
                    <a:gd name="T32" fmla="*/ 0 w 747"/>
                    <a:gd name="T33" fmla="*/ 0 h 934"/>
                    <a:gd name="T34" fmla="*/ 0 w 747"/>
                    <a:gd name="T35" fmla="*/ 0 h 934"/>
                    <a:gd name="T36" fmla="*/ 0 w 747"/>
                    <a:gd name="T37" fmla="*/ 0 h 934"/>
                    <a:gd name="T38" fmla="*/ 0 w 747"/>
                    <a:gd name="T39" fmla="*/ 0 h 934"/>
                    <a:gd name="T40" fmla="*/ 0 w 747"/>
                    <a:gd name="T41" fmla="*/ 0 h 934"/>
                    <a:gd name="T42" fmla="*/ 0 w 747"/>
                    <a:gd name="T43" fmla="*/ 0 h 934"/>
                    <a:gd name="T44" fmla="*/ 0 w 747"/>
                    <a:gd name="T45" fmla="*/ 0 h 934"/>
                    <a:gd name="T46" fmla="*/ 0 w 747"/>
                    <a:gd name="T47" fmla="*/ 0 h 934"/>
                    <a:gd name="T48" fmla="*/ 0 w 747"/>
                    <a:gd name="T49" fmla="*/ 0 h 934"/>
                    <a:gd name="T50" fmla="*/ 0 w 747"/>
                    <a:gd name="T51" fmla="*/ 0 h 934"/>
                    <a:gd name="T52" fmla="*/ 0 w 747"/>
                    <a:gd name="T53" fmla="*/ 0 h 934"/>
                    <a:gd name="T54" fmla="*/ 0 w 747"/>
                    <a:gd name="T55" fmla="*/ 0 h 934"/>
                    <a:gd name="T56" fmla="*/ 0 w 747"/>
                    <a:gd name="T57" fmla="*/ 0 h 934"/>
                    <a:gd name="T58" fmla="*/ 0 w 747"/>
                    <a:gd name="T59" fmla="*/ 0 h 934"/>
                    <a:gd name="T60" fmla="*/ 0 w 747"/>
                    <a:gd name="T61" fmla="*/ 0 h 934"/>
                    <a:gd name="T62" fmla="*/ 0 w 747"/>
                    <a:gd name="T63" fmla="*/ 0 h 934"/>
                    <a:gd name="T64" fmla="*/ 0 w 747"/>
                    <a:gd name="T65" fmla="*/ 0 h 934"/>
                    <a:gd name="T66" fmla="*/ 0 w 747"/>
                    <a:gd name="T67" fmla="*/ 0 h 934"/>
                    <a:gd name="T68" fmla="*/ 0 w 747"/>
                    <a:gd name="T69" fmla="*/ 0 h 934"/>
                    <a:gd name="T70" fmla="*/ 0 w 747"/>
                    <a:gd name="T71" fmla="*/ 0 h 934"/>
                    <a:gd name="T72" fmla="*/ 0 w 747"/>
                    <a:gd name="T73" fmla="*/ 0 h 934"/>
                    <a:gd name="T74" fmla="*/ 0 w 747"/>
                    <a:gd name="T75" fmla="*/ 0 h 934"/>
                    <a:gd name="T76" fmla="*/ 0 w 747"/>
                    <a:gd name="T77" fmla="*/ 0 h 934"/>
                    <a:gd name="T78" fmla="*/ 0 w 747"/>
                    <a:gd name="T79" fmla="*/ 0 h 934"/>
                    <a:gd name="T80" fmla="*/ 0 w 747"/>
                    <a:gd name="T81" fmla="*/ 0 h 934"/>
                    <a:gd name="T82" fmla="*/ 0 w 747"/>
                    <a:gd name="T83" fmla="*/ 0 h 934"/>
                    <a:gd name="T84" fmla="*/ 0 w 747"/>
                    <a:gd name="T85" fmla="*/ 0 h 934"/>
                    <a:gd name="T86" fmla="*/ 0 w 747"/>
                    <a:gd name="T87" fmla="*/ 0 h 934"/>
                    <a:gd name="T88" fmla="*/ 0 w 747"/>
                    <a:gd name="T89" fmla="*/ 0 h 934"/>
                    <a:gd name="T90" fmla="*/ 0 w 747"/>
                    <a:gd name="T91" fmla="*/ 0 h 934"/>
                    <a:gd name="T92" fmla="*/ 0 w 747"/>
                    <a:gd name="T93" fmla="*/ 0 h 934"/>
                    <a:gd name="T94" fmla="*/ 0 w 747"/>
                    <a:gd name="T95" fmla="*/ 0 h 934"/>
                    <a:gd name="T96" fmla="*/ 0 w 747"/>
                    <a:gd name="T97" fmla="*/ 0 h 934"/>
                    <a:gd name="T98" fmla="*/ 0 w 747"/>
                    <a:gd name="T99" fmla="*/ 0 h 934"/>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747"/>
                    <a:gd name="T151" fmla="*/ 0 h 934"/>
                    <a:gd name="T152" fmla="*/ 747 w 747"/>
                    <a:gd name="T153" fmla="*/ 934 h 934"/>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747" h="934">
                      <a:moveTo>
                        <a:pt x="368" y="934"/>
                      </a:moveTo>
                      <a:lnTo>
                        <a:pt x="340" y="934"/>
                      </a:lnTo>
                      <a:lnTo>
                        <a:pt x="343" y="907"/>
                      </a:lnTo>
                      <a:lnTo>
                        <a:pt x="353" y="836"/>
                      </a:lnTo>
                      <a:lnTo>
                        <a:pt x="366" y="733"/>
                      </a:lnTo>
                      <a:lnTo>
                        <a:pt x="384" y="613"/>
                      </a:lnTo>
                      <a:lnTo>
                        <a:pt x="403" y="489"/>
                      </a:lnTo>
                      <a:lnTo>
                        <a:pt x="423" y="374"/>
                      </a:lnTo>
                      <a:lnTo>
                        <a:pt x="443" y="281"/>
                      </a:lnTo>
                      <a:lnTo>
                        <a:pt x="461" y="223"/>
                      </a:lnTo>
                      <a:lnTo>
                        <a:pt x="480" y="214"/>
                      </a:lnTo>
                      <a:lnTo>
                        <a:pt x="502" y="206"/>
                      </a:lnTo>
                      <a:lnTo>
                        <a:pt x="524" y="200"/>
                      </a:lnTo>
                      <a:lnTo>
                        <a:pt x="547" y="195"/>
                      </a:lnTo>
                      <a:lnTo>
                        <a:pt x="570" y="194"/>
                      </a:lnTo>
                      <a:lnTo>
                        <a:pt x="593" y="195"/>
                      </a:lnTo>
                      <a:lnTo>
                        <a:pt x="615" y="200"/>
                      </a:lnTo>
                      <a:lnTo>
                        <a:pt x="636" y="209"/>
                      </a:lnTo>
                      <a:lnTo>
                        <a:pt x="578" y="580"/>
                      </a:lnTo>
                      <a:lnTo>
                        <a:pt x="595" y="574"/>
                      </a:lnTo>
                      <a:lnTo>
                        <a:pt x="612" y="566"/>
                      </a:lnTo>
                      <a:lnTo>
                        <a:pt x="630" y="556"/>
                      </a:lnTo>
                      <a:lnTo>
                        <a:pt x="649" y="544"/>
                      </a:lnTo>
                      <a:lnTo>
                        <a:pt x="666" y="530"/>
                      </a:lnTo>
                      <a:lnTo>
                        <a:pt x="680" y="516"/>
                      </a:lnTo>
                      <a:lnTo>
                        <a:pt x="692" y="499"/>
                      </a:lnTo>
                      <a:lnTo>
                        <a:pt x="699" y="482"/>
                      </a:lnTo>
                      <a:lnTo>
                        <a:pt x="703" y="445"/>
                      </a:lnTo>
                      <a:lnTo>
                        <a:pt x="711" y="359"/>
                      </a:lnTo>
                      <a:lnTo>
                        <a:pt x="720" y="267"/>
                      </a:lnTo>
                      <a:lnTo>
                        <a:pt x="723" y="203"/>
                      </a:lnTo>
                      <a:lnTo>
                        <a:pt x="722" y="186"/>
                      </a:lnTo>
                      <a:lnTo>
                        <a:pt x="720" y="165"/>
                      </a:lnTo>
                      <a:lnTo>
                        <a:pt x="715" y="144"/>
                      </a:lnTo>
                      <a:lnTo>
                        <a:pt x="709" y="122"/>
                      </a:lnTo>
                      <a:lnTo>
                        <a:pt x="701" y="101"/>
                      </a:lnTo>
                      <a:lnTo>
                        <a:pt x="690" y="80"/>
                      </a:lnTo>
                      <a:lnTo>
                        <a:pt x="676" y="62"/>
                      </a:lnTo>
                      <a:lnTo>
                        <a:pt x="659" y="45"/>
                      </a:lnTo>
                      <a:lnTo>
                        <a:pt x="630" y="39"/>
                      </a:lnTo>
                      <a:lnTo>
                        <a:pt x="600" y="34"/>
                      </a:lnTo>
                      <a:lnTo>
                        <a:pt x="572" y="32"/>
                      </a:lnTo>
                      <a:lnTo>
                        <a:pt x="543" y="31"/>
                      </a:lnTo>
                      <a:lnTo>
                        <a:pt x="515" y="31"/>
                      </a:lnTo>
                      <a:lnTo>
                        <a:pt x="486" y="32"/>
                      </a:lnTo>
                      <a:lnTo>
                        <a:pt x="456" y="36"/>
                      </a:lnTo>
                      <a:lnTo>
                        <a:pt x="429" y="39"/>
                      </a:lnTo>
                      <a:lnTo>
                        <a:pt x="400" y="45"/>
                      </a:lnTo>
                      <a:lnTo>
                        <a:pt x="373" y="51"/>
                      </a:lnTo>
                      <a:lnTo>
                        <a:pt x="344" y="59"/>
                      </a:lnTo>
                      <a:lnTo>
                        <a:pt x="318" y="68"/>
                      </a:lnTo>
                      <a:lnTo>
                        <a:pt x="291" y="77"/>
                      </a:lnTo>
                      <a:lnTo>
                        <a:pt x="265" y="87"/>
                      </a:lnTo>
                      <a:lnTo>
                        <a:pt x="238" y="97"/>
                      </a:lnTo>
                      <a:lnTo>
                        <a:pt x="213" y="109"/>
                      </a:lnTo>
                      <a:lnTo>
                        <a:pt x="176" y="130"/>
                      </a:lnTo>
                      <a:lnTo>
                        <a:pt x="148" y="151"/>
                      </a:lnTo>
                      <a:lnTo>
                        <a:pt x="127" y="172"/>
                      </a:lnTo>
                      <a:lnTo>
                        <a:pt x="113" y="195"/>
                      </a:lnTo>
                      <a:lnTo>
                        <a:pt x="102" y="218"/>
                      </a:lnTo>
                      <a:lnTo>
                        <a:pt x="94" y="243"/>
                      </a:lnTo>
                      <a:lnTo>
                        <a:pt x="86" y="268"/>
                      </a:lnTo>
                      <a:lnTo>
                        <a:pt x="75" y="294"/>
                      </a:lnTo>
                      <a:lnTo>
                        <a:pt x="46" y="481"/>
                      </a:lnTo>
                      <a:lnTo>
                        <a:pt x="48" y="507"/>
                      </a:lnTo>
                      <a:lnTo>
                        <a:pt x="50" y="533"/>
                      </a:lnTo>
                      <a:lnTo>
                        <a:pt x="54" y="560"/>
                      </a:lnTo>
                      <a:lnTo>
                        <a:pt x="58" y="585"/>
                      </a:lnTo>
                      <a:lnTo>
                        <a:pt x="67" y="607"/>
                      </a:lnTo>
                      <a:lnTo>
                        <a:pt x="79" y="629"/>
                      </a:lnTo>
                      <a:lnTo>
                        <a:pt x="94" y="648"/>
                      </a:lnTo>
                      <a:lnTo>
                        <a:pt x="114" y="662"/>
                      </a:lnTo>
                      <a:lnTo>
                        <a:pt x="132" y="669"/>
                      </a:lnTo>
                      <a:lnTo>
                        <a:pt x="149" y="675"/>
                      </a:lnTo>
                      <a:lnTo>
                        <a:pt x="166" y="680"/>
                      </a:lnTo>
                      <a:lnTo>
                        <a:pt x="180" y="683"/>
                      </a:lnTo>
                      <a:lnTo>
                        <a:pt x="194" y="687"/>
                      </a:lnTo>
                      <a:lnTo>
                        <a:pt x="209" y="689"/>
                      </a:lnTo>
                      <a:lnTo>
                        <a:pt x="222" y="691"/>
                      </a:lnTo>
                      <a:lnTo>
                        <a:pt x="235" y="691"/>
                      </a:lnTo>
                      <a:lnTo>
                        <a:pt x="247" y="691"/>
                      </a:lnTo>
                      <a:lnTo>
                        <a:pt x="260" y="691"/>
                      </a:lnTo>
                      <a:lnTo>
                        <a:pt x="272" y="689"/>
                      </a:lnTo>
                      <a:lnTo>
                        <a:pt x="285" y="687"/>
                      </a:lnTo>
                      <a:lnTo>
                        <a:pt x="298" y="685"/>
                      </a:lnTo>
                      <a:lnTo>
                        <a:pt x="311" y="681"/>
                      </a:lnTo>
                      <a:lnTo>
                        <a:pt x="325" y="677"/>
                      </a:lnTo>
                      <a:lnTo>
                        <a:pt x="341" y="674"/>
                      </a:lnTo>
                      <a:lnTo>
                        <a:pt x="344" y="679"/>
                      </a:lnTo>
                      <a:lnTo>
                        <a:pt x="344" y="686"/>
                      </a:lnTo>
                      <a:lnTo>
                        <a:pt x="342" y="694"/>
                      </a:lnTo>
                      <a:lnTo>
                        <a:pt x="341" y="700"/>
                      </a:lnTo>
                      <a:lnTo>
                        <a:pt x="326" y="705"/>
                      </a:lnTo>
                      <a:lnTo>
                        <a:pt x="312" y="708"/>
                      </a:lnTo>
                      <a:lnTo>
                        <a:pt x="299" y="713"/>
                      </a:lnTo>
                      <a:lnTo>
                        <a:pt x="286" y="716"/>
                      </a:lnTo>
                      <a:lnTo>
                        <a:pt x="273" y="718"/>
                      </a:lnTo>
                      <a:lnTo>
                        <a:pt x="260" y="720"/>
                      </a:lnTo>
                      <a:lnTo>
                        <a:pt x="247" y="723"/>
                      </a:lnTo>
                      <a:lnTo>
                        <a:pt x="234" y="723"/>
                      </a:lnTo>
                      <a:lnTo>
                        <a:pt x="220" y="724"/>
                      </a:lnTo>
                      <a:lnTo>
                        <a:pt x="209" y="724"/>
                      </a:lnTo>
                      <a:lnTo>
                        <a:pt x="195" y="723"/>
                      </a:lnTo>
                      <a:lnTo>
                        <a:pt x="182" y="722"/>
                      </a:lnTo>
                      <a:lnTo>
                        <a:pt x="169" y="719"/>
                      </a:lnTo>
                      <a:lnTo>
                        <a:pt x="155" y="717"/>
                      </a:lnTo>
                      <a:lnTo>
                        <a:pt x="142" y="713"/>
                      </a:lnTo>
                      <a:lnTo>
                        <a:pt x="127" y="710"/>
                      </a:lnTo>
                      <a:lnTo>
                        <a:pt x="110" y="703"/>
                      </a:lnTo>
                      <a:lnTo>
                        <a:pt x="91" y="694"/>
                      </a:lnTo>
                      <a:lnTo>
                        <a:pt x="74" y="683"/>
                      </a:lnTo>
                      <a:lnTo>
                        <a:pt x="57" y="672"/>
                      </a:lnTo>
                      <a:lnTo>
                        <a:pt x="42" y="657"/>
                      </a:lnTo>
                      <a:lnTo>
                        <a:pt x="29" y="642"/>
                      </a:lnTo>
                      <a:lnTo>
                        <a:pt x="19" y="625"/>
                      </a:lnTo>
                      <a:lnTo>
                        <a:pt x="11" y="606"/>
                      </a:lnTo>
                      <a:lnTo>
                        <a:pt x="2" y="549"/>
                      </a:lnTo>
                      <a:lnTo>
                        <a:pt x="0" y="492"/>
                      </a:lnTo>
                      <a:lnTo>
                        <a:pt x="1" y="435"/>
                      </a:lnTo>
                      <a:lnTo>
                        <a:pt x="7" y="377"/>
                      </a:lnTo>
                      <a:lnTo>
                        <a:pt x="17" y="321"/>
                      </a:lnTo>
                      <a:lnTo>
                        <a:pt x="30" y="267"/>
                      </a:lnTo>
                      <a:lnTo>
                        <a:pt x="45" y="213"/>
                      </a:lnTo>
                      <a:lnTo>
                        <a:pt x="64" y="162"/>
                      </a:lnTo>
                      <a:lnTo>
                        <a:pt x="74" y="146"/>
                      </a:lnTo>
                      <a:lnTo>
                        <a:pt x="83" y="133"/>
                      </a:lnTo>
                      <a:lnTo>
                        <a:pt x="93" y="121"/>
                      </a:lnTo>
                      <a:lnTo>
                        <a:pt x="102" y="111"/>
                      </a:lnTo>
                      <a:lnTo>
                        <a:pt x="113" y="102"/>
                      </a:lnTo>
                      <a:lnTo>
                        <a:pt x="124" y="94"/>
                      </a:lnTo>
                      <a:lnTo>
                        <a:pt x="136" y="87"/>
                      </a:lnTo>
                      <a:lnTo>
                        <a:pt x="148" y="81"/>
                      </a:lnTo>
                      <a:lnTo>
                        <a:pt x="161" y="75"/>
                      </a:lnTo>
                      <a:lnTo>
                        <a:pt x="175" y="70"/>
                      </a:lnTo>
                      <a:lnTo>
                        <a:pt x="189" y="65"/>
                      </a:lnTo>
                      <a:lnTo>
                        <a:pt x="206" y="61"/>
                      </a:lnTo>
                      <a:lnTo>
                        <a:pt x="223" y="56"/>
                      </a:lnTo>
                      <a:lnTo>
                        <a:pt x="241" y="51"/>
                      </a:lnTo>
                      <a:lnTo>
                        <a:pt x="261" y="46"/>
                      </a:lnTo>
                      <a:lnTo>
                        <a:pt x="282" y="40"/>
                      </a:lnTo>
                      <a:lnTo>
                        <a:pt x="285" y="40"/>
                      </a:lnTo>
                      <a:lnTo>
                        <a:pt x="291" y="39"/>
                      </a:lnTo>
                      <a:lnTo>
                        <a:pt x="300" y="37"/>
                      </a:lnTo>
                      <a:lnTo>
                        <a:pt x="313" y="34"/>
                      </a:lnTo>
                      <a:lnTo>
                        <a:pt x="330" y="31"/>
                      </a:lnTo>
                      <a:lnTo>
                        <a:pt x="348" y="27"/>
                      </a:lnTo>
                      <a:lnTo>
                        <a:pt x="367" y="24"/>
                      </a:lnTo>
                      <a:lnTo>
                        <a:pt x="388" y="20"/>
                      </a:lnTo>
                      <a:lnTo>
                        <a:pt x="411" y="16"/>
                      </a:lnTo>
                      <a:lnTo>
                        <a:pt x="433" y="13"/>
                      </a:lnTo>
                      <a:lnTo>
                        <a:pt x="455" y="9"/>
                      </a:lnTo>
                      <a:lnTo>
                        <a:pt x="477" y="6"/>
                      </a:lnTo>
                      <a:lnTo>
                        <a:pt x="498" y="3"/>
                      </a:lnTo>
                      <a:lnTo>
                        <a:pt x="517" y="1"/>
                      </a:lnTo>
                      <a:lnTo>
                        <a:pt x="534" y="0"/>
                      </a:lnTo>
                      <a:lnTo>
                        <a:pt x="549" y="0"/>
                      </a:lnTo>
                      <a:lnTo>
                        <a:pt x="575" y="0"/>
                      </a:lnTo>
                      <a:lnTo>
                        <a:pt x="602" y="2"/>
                      </a:lnTo>
                      <a:lnTo>
                        <a:pt x="627" y="7"/>
                      </a:lnTo>
                      <a:lnTo>
                        <a:pt x="651" y="13"/>
                      </a:lnTo>
                      <a:lnTo>
                        <a:pt x="672" y="22"/>
                      </a:lnTo>
                      <a:lnTo>
                        <a:pt x="691" y="34"/>
                      </a:lnTo>
                      <a:lnTo>
                        <a:pt x="709" y="51"/>
                      </a:lnTo>
                      <a:lnTo>
                        <a:pt x="723" y="71"/>
                      </a:lnTo>
                      <a:lnTo>
                        <a:pt x="735" y="101"/>
                      </a:lnTo>
                      <a:lnTo>
                        <a:pt x="742" y="136"/>
                      </a:lnTo>
                      <a:lnTo>
                        <a:pt x="746" y="175"/>
                      </a:lnTo>
                      <a:lnTo>
                        <a:pt x="747" y="215"/>
                      </a:lnTo>
                      <a:lnTo>
                        <a:pt x="747" y="257"/>
                      </a:lnTo>
                      <a:lnTo>
                        <a:pt x="745" y="299"/>
                      </a:lnTo>
                      <a:lnTo>
                        <a:pt x="743" y="338"/>
                      </a:lnTo>
                      <a:lnTo>
                        <a:pt x="743" y="374"/>
                      </a:lnTo>
                      <a:lnTo>
                        <a:pt x="741" y="404"/>
                      </a:lnTo>
                      <a:lnTo>
                        <a:pt x="740" y="431"/>
                      </a:lnTo>
                      <a:lnTo>
                        <a:pt x="738" y="460"/>
                      </a:lnTo>
                      <a:lnTo>
                        <a:pt x="733" y="486"/>
                      </a:lnTo>
                      <a:lnTo>
                        <a:pt x="724" y="511"/>
                      </a:lnTo>
                      <a:lnTo>
                        <a:pt x="712" y="533"/>
                      </a:lnTo>
                      <a:lnTo>
                        <a:pt x="696" y="555"/>
                      </a:lnTo>
                      <a:lnTo>
                        <a:pt x="672" y="574"/>
                      </a:lnTo>
                      <a:lnTo>
                        <a:pt x="660" y="581"/>
                      </a:lnTo>
                      <a:lnTo>
                        <a:pt x="647" y="589"/>
                      </a:lnTo>
                      <a:lnTo>
                        <a:pt x="635" y="597"/>
                      </a:lnTo>
                      <a:lnTo>
                        <a:pt x="623" y="604"/>
                      </a:lnTo>
                      <a:lnTo>
                        <a:pt x="610" y="612"/>
                      </a:lnTo>
                      <a:lnTo>
                        <a:pt x="598" y="618"/>
                      </a:lnTo>
                      <a:lnTo>
                        <a:pt x="585" y="624"/>
                      </a:lnTo>
                      <a:lnTo>
                        <a:pt x="572" y="630"/>
                      </a:lnTo>
                      <a:lnTo>
                        <a:pt x="521" y="934"/>
                      </a:lnTo>
                      <a:lnTo>
                        <a:pt x="494" y="934"/>
                      </a:lnTo>
                      <a:lnTo>
                        <a:pt x="609" y="223"/>
                      </a:lnTo>
                      <a:lnTo>
                        <a:pt x="597" y="220"/>
                      </a:lnTo>
                      <a:lnTo>
                        <a:pt x="580" y="220"/>
                      </a:lnTo>
                      <a:lnTo>
                        <a:pt x="561" y="223"/>
                      </a:lnTo>
                      <a:lnTo>
                        <a:pt x="540" y="226"/>
                      </a:lnTo>
                      <a:lnTo>
                        <a:pt x="517" y="232"/>
                      </a:lnTo>
                      <a:lnTo>
                        <a:pt x="498" y="238"/>
                      </a:lnTo>
                      <a:lnTo>
                        <a:pt x="481" y="243"/>
                      </a:lnTo>
                      <a:lnTo>
                        <a:pt x="469" y="249"/>
                      </a:lnTo>
                      <a:lnTo>
                        <a:pt x="368" y="934"/>
                      </a:lnTo>
                      <a:close/>
                    </a:path>
                  </a:pathLst>
                </a:custGeom>
                <a:solidFill>
                  <a:srgbClr val="000000"/>
                </a:solidFill>
                <a:ln w="9525">
                  <a:noFill/>
                  <a:round/>
                  <a:headEnd/>
                  <a:tailEnd/>
                </a:ln>
              </p:spPr>
              <p:txBody>
                <a:bodyPr/>
                <a:lstStyle/>
                <a:p>
                  <a:endParaRPr lang="ja-JP" altLang="en-US" sz="1600" b="1">
                    <a:latin typeface="Times New Roman" charset="0"/>
                    <a:cs typeface="Times New Roman" charset="0"/>
                  </a:endParaRPr>
                </a:p>
              </p:txBody>
            </p:sp>
            <p:sp>
              <p:nvSpPr>
                <p:cNvPr id="46165" name="Freeform 157"/>
                <p:cNvSpPr>
                  <a:spLocks/>
                </p:cNvSpPr>
                <p:nvPr/>
              </p:nvSpPr>
              <p:spPr bwMode="auto">
                <a:xfrm>
                  <a:off x="5105" y="3536"/>
                  <a:ext cx="74" cy="91"/>
                </a:xfrm>
                <a:custGeom>
                  <a:avLst/>
                  <a:gdLst>
                    <a:gd name="T0" fmla="*/ 0 w 443"/>
                    <a:gd name="T1" fmla="*/ 0 h 544"/>
                    <a:gd name="T2" fmla="*/ 0 w 443"/>
                    <a:gd name="T3" fmla="*/ 0 h 544"/>
                    <a:gd name="T4" fmla="*/ 0 w 443"/>
                    <a:gd name="T5" fmla="*/ 0 h 544"/>
                    <a:gd name="T6" fmla="*/ 0 w 443"/>
                    <a:gd name="T7" fmla="*/ 0 h 544"/>
                    <a:gd name="T8" fmla="*/ 0 w 443"/>
                    <a:gd name="T9" fmla="*/ 0 h 544"/>
                    <a:gd name="T10" fmla="*/ 0 w 443"/>
                    <a:gd name="T11" fmla="*/ 0 h 544"/>
                    <a:gd name="T12" fmla="*/ 0 w 443"/>
                    <a:gd name="T13" fmla="*/ 0 h 544"/>
                    <a:gd name="T14" fmla="*/ 0 w 443"/>
                    <a:gd name="T15" fmla="*/ 0 h 544"/>
                    <a:gd name="T16" fmla="*/ 0 w 443"/>
                    <a:gd name="T17" fmla="*/ 0 h 544"/>
                    <a:gd name="T18" fmla="*/ 0 w 443"/>
                    <a:gd name="T19" fmla="*/ 0 h 544"/>
                    <a:gd name="T20" fmla="*/ 0 w 443"/>
                    <a:gd name="T21" fmla="*/ 0 h 544"/>
                    <a:gd name="T22" fmla="*/ 0 w 443"/>
                    <a:gd name="T23" fmla="*/ 0 h 544"/>
                    <a:gd name="T24" fmla="*/ 0 w 443"/>
                    <a:gd name="T25" fmla="*/ 0 h 544"/>
                    <a:gd name="T26" fmla="*/ 0 w 443"/>
                    <a:gd name="T27" fmla="*/ 0 h 544"/>
                    <a:gd name="T28" fmla="*/ 0 w 443"/>
                    <a:gd name="T29" fmla="*/ 0 h 544"/>
                    <a:gd name="T30" fmla="*/ 0 w 443"/>
                    <a:gd name="T31" fmla="*/ 0 h 544"/>
                    <a:gd name="T32" fmla="*/ 0 w 443"/>
                    <a:gd name="T33" fmla="*/ 0 h 544"/>
                    <a:gd name="T34" fmla="*/ 0 w 443"/>
                    <a:gd name="T35" fmla="*/ 0 h 544"/>
                    <a:gd name="T36" fmla="*/ 0 w 443"/>
                    <a:gd name="T37" fmla="*/ 0 h 544"/>
                    <a:gd name="T38" fmla="*/ 0 w 443"/>
                    <a:gd name="T39" fmla="*/ 0 h 544"/>
                    <a:gd name="T40" fmla="*/ 0 w 443"/>
                    <a:gd name="T41" fmla="*/ 0 h 544"/>
                    <a:gd name="T42" fmla="*/ 0 w 443"/>
                    <a:gd name="T43" fmla="*/ 0 h 544"/>
                    <a:gd name="T44" fmla="*/ 0 w 443"/>
                    <a:gd name="T45" fmla="*/ 0 h 544"/>
                    <a:gd name="T46" fmla="*/ 0 w 443"/>
                    <a:gd name="T47" fmla="*/ 0 h 544"/>
                    <a:gd name="T48" fmla="*/ 0 w 443"/>
                    <a:gd name="T49" fmla="*/ 0 h 544"/>
                    <a:gd name="T50" fmla="*/ 0 w 443"/>
                    <a:gd name="T51" fmla="*/ 0 h 544"/>
                    <a:gd name="T52" fmla="*/ 0 w 443"/>
                    <a:gd name="T53" fmla="*/ 0 h 544"/>
                    <a:gd name="T54" fmla="*/ 0 w 443"/>
                    <a:gd name="T55" fmla="*/ 0 h 544"/>
                    <a:gd name="T56" fmla="*/ 0 w 443"/>
                    <a:gd name="T57" fmla="*/ 0 h 544"/>
                    <a:gd name="T58" fmla="*/ 0 w 443"/>
                    <a:gd name="T59" fmla="*/ 0 h 544"/>
                    <a:gd name="T60" fmla="*/ 0 w 443"/>
                    <a:gd name="T61" fmla="*/ 0 h 544"/>
                    <a:gd name="T62" fmla="*/ 0 w 443"/>
                    <a:gd name="T63" fmla="*/ 0 h 544"/>
                    <a:gd name="T64" fmla="*/ 0 w 443"/>
                    <a:gd name="T65" fmla="*/ 0 h 544"/>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443"/>
                    <a:gd name="T100" fmla="*/ 0 h 544"/>
                    <a:gd name="T101" fmla="*/ 443 w 443"/>
                    <a:gd name="T102" fmla="*/ 544 h 544"/>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443" h="544">
                      <a:moveTo>
                        <a:pt x="443" y="0"/>
                      </a:moveTo>
                      <a:lnTo>
                        <a:pt x="421" y="6"/>
                      </a:lnTo>
                      <a:lnTo>
                        <a:pt x="401" y="12"/>
                      </a:lnTo>
                      <a:lnTo>
                        <a:pt x="381" y="18"/>
                      </a:lnTo>
                      <a:lnTo>
                        <a:pt x="361" y="24"/>
                      </a:lnTo>
                      <a:lnTo>
                        <a:pt x="342" y="29"/>
                      </a:lnTo>
                      <a:lnTo>
                        <a:pt x="322" y="35"/>
                      </a:lnTo>
                      <a:lnTo>
                        <a:pt x="305" y="43"/>
                      </a:lnTo>
                      <a:lnTo>
                        <a:pt x="286" y="49"/>
                      </a:lnTo>
                      <a:lnTo>
                        <a:pt x="268" y="54"/>
                      </a:lnTo>
                      <a:lnTo>
                        <a:pt x="250" y="62"/>
                      </a:lnTo>
                      <a:lnTo>
                        <a:pt x="233" y="68"/>
                      </a:lnTo>
                      <a:lnTo>
                        <a:pt x="215" y="74"/>
                      </a:lnTo>
                      <a:lnTo>
                        <a:pt x="197" y="81"/>
                      </a:lnTo>
                      <a:lnTo>
                        <a:pt x="181" y="87"/>
                      </a:lnTo>
                      <a:lnTo>
                        <a:pt x="163" y="94"/>
                      </a:lnTo>
                      <a:lnTo>
                        <a:pt x="146" y="100"/>
                      </a:lnTo>
                      <a:lnTo>
                        <a:pt x="119" y="120"/>
                      </a:lnTo>
                      <a:lnTo>
                        <a:pt x="97" y="145"/>
                      </a:lnTo>
                      <a:lnTo>
                        <a:pt x="81" y="172"/>
                      </a:lnTo>
                      <a:lnTo>
                        <a:pt x="69" y="203"/>
                      </a:lnTo>
                      <a:lnTo>
                        <a:pt x="59" y="236"/>
                      </a:lnTo>
                      <a:lnTo>
                        <a:pt x="52" y="269"/>
                      </a:lnTo>
                      <a:lnTo>
                        <a:pt x="46" y="302"/>
                      </a:lnTo>
                      <a:lnTo>
                        <a:pt x="40" y="334"/>
                      </a:lnTo>
                      <a:lnTo>
                        <a:pt x="37" y="543"/>
                      </a:lnTo>
                      <a:lnTo>
                        <a:pt x="33" y="544"/>
                      </a:lnTo>
                      <a:lnTo>
                        <a:pt x="28" y="544"/>
                      </a:lnTo>
                      <a:lnTo>
                        <a:pt x="22" y="543"/>
                      </a:lnTo>
                      <a:lnTo>
                        <a:pt x="16" y="542"/>
                      </a:lnTo>
                      <a:lnTo>
                        <a:pt x="10" y="539"/>
                      </a:lnTo>
                      <a:lnTo>
                        <a:pt x="6" y="538"/>
                      </a:lnTo>
                      <a:lnTo>
                        <a:pt x="2" y="536"/>
                      </a:lnTo>
                      <a:lnTo>
                        <a:pt x="1" y="536"/>
                      </a:lnTo>
                      <a:lnTo>
                        <a:pt x="0" y="481"/>
                      </a:lnTo>
                      <a:lnTo>
                        <a:pt x="0" y="426"/>
                      </a:lnTo>
                      <a:lnTo>
                        <a:pt x="2" y="370"/>
                      </a:lnTo>
                      <a:lnTo>
                        <a:pt x="7" y="317"/>
                      </a:lnTo>
                      <a:lnTo>
                        <a:pt x="16" y="263"/>
                      </a:lnTo>
                      <a:lnTo>
                        <a:pt x="31" y="212"/>
                      </a:lnTo>
                      <a:lnTo>
                        <a:pt x="51" y="164"/>
                      </a:lnTo>
                      <a:lnTo>
                        <a:pt x="78" y="119"/>
                      </a:lnTo>
                      <a:lnTo>
                        <a:pt x="95" y="108"/>
                      </a:lnTo>
                      <a:lnTo>
                        <a:pt x="113" y="97"/>
                      </a:lnTo>
                      <a:lnTo>
                        <a:pt x="131" y="88"/>
                      </a:lnTo>
                      <a:lnTo>
                        <a:pt x="149" y="79"/>
                      </a:lnTo>
                      <a:lnTo>
                        <a:pt x="166" y="71"/>
                      </a:lnTo>
                      <a:lnTo>
                        <a:pt x="185" y="63"/>
                      </a:lnTo>
                      <a:lnTo>
                        <a:pt x="205" y="56"/>
                      </a:lnTo>
                      <a:lnTo>
                        <a:pt x="224" y="50"/>
                      </a:lnTo>
                      <a:lnTo>
                        <a:pt x="243" y="43"/>
                      </a:lnTo>
                      <a:lnTo>
                        <a:pt x="262" y="38"/>
                      </a:lnTo>
                      <a:lnTo>
                        <a:pt x="281" y="32"/>
                      </a:lnTo>
                      <a:lnTo>
                        <a:pt x="301" y="26"/>
                      </a:lnTo>
                      <a:lnTo>
                        <a:pt x="320" y="21"/>
                      </a:lnTo>
                      <a:lnTo>
                        <a:pt x="340" y="16"/>
                      </a:lnTo>
                      <a:lnTo>
                        <a:pt x="359" y="12"/>
                      </a:lnTo>
                      <a:lnTo>
                        <a:pt x="380" y="7"/>
                      </a:lnTo>
                      <a:lnTo>
                        <a:pt x="388" y="6"/>
                      </a:lnTo>
                      <a:lnTo>
                        <a:pt x="395" y="4"/>
                      </a:lnTo>
                      <a:lnTo>
                        <a:pt x="403" y="3"/>
                      </a:lnTo>
                      <a:lnTo>
                        <a:pt x="412" y="3"/>
                      </a:lnTo>
                      <a:lnTo>
                        <a:pt x="419" y="2"/>
                      </a:lnTo>
                      <a:lnTo>
                        <a:pt x="427" y="1"/>
                      </a:lnTo>
                      <a:lnTo>
                        <a:pt x="434" y="1"/>
                      </a:lnTo>
                      <a:lnTo>
                        <a:pt x="443" y="0"/>
                      </a:lnTo>
                      <a:close/>
                    </a:path>
                  </a:pathLst>
                </a:custGeom>
                <a:solidFill>
                  <a:srgbClr val="000000"/>
                </a:solidFill>
                <a:ln w="9525">
                  <a:noFill/>
                  <a:round/>
                  <a:headEnd/>
                  <a:tailEnd/>
                </a:ln>
              </p:spPr>
              <p:txBody>
                <a:bodyPr/>
                <a:lstStyle/>
                <a:p>
                  <a:endParaRPr lang="ja-JP" altLang="en-US" sz="1600" b="1">
                    <a:latin typeface="Times New Roman" charset="0"/>
                    <a:cs typeface="Times New Roman" charset="0"/>
                  </a:endParaRPr>
                </a:p>
              </p:txBody>
            </p:sp>
            <p:sp>
              <p:nvSpPr>
                <p:cNvPr id="46166" name="Freeform 158"/>
                <p:cNvSpPr>
                  <a:spLocks/>
                </p:cNvSpPr>
                <p:nvPr/>
              </p:nvSpPr>
              <p:spPr bwMode="auto">
                <a:xfrm>
                  <a:off x="5151" y="3566"/>
                  <a:ext cx="22" cy="114"/>
                </a:xfrm>
                <a:custGeom>
                  <a:avLst/>
                  <a:gdLst>
                    <a:gd name="T0" fmla="*/ 0 w 132"/>
                    <a:gd name="T1" fmla="*/ 0 h 683"/>
                    <a:gd name="T2" fmla="*/ 0 w 132"/>
                    <a:gd name="T3" fmla="*/ 0 h 683"/>
                    <a:gd name="T4" fmla="*/ 0 w 132"/>
                    <a:gd name="T5" fmla="*/ 0 h 683"/>
                    <a:gd name="T6" fmla="*/ 0 w 132"/>
                    <a:gd name="T7" fmla="*/ 0 h 683"/>
                    <a:gd name="T8" fmla="*/ 0 w 132"/>
                    <a:gd name="T9" fmla="*/ 0 h 683"/>
                    <a:gd name="T10" fmla="*/ 0 w 132"/>
                    <a:gd name="T11" fmla="*/ 0 h 683"/>
                    <a:gd name="T12" fmla="*/ 0 w 132"/>
                    <a:gd name="T13" fmla="*/ 0 h 683"/>
                    <a:gd name="T14" fmla="*/ 0 w 132"/>
                    <a:gd name="T15" fmla="*/ 0 h 683"/>
                    <a:gd name="T16" fmla="*/ 0 w 132"/>
                    <a:gd name="T17" fmla="*/ 0 h 683"/>
                    <a:gd name="T18" fmla="*/ 0 w 132"/>
                    <a:gd name="T19" fmla="*/ 0 h 68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32"/>
                    <a:gd name="T31" fmla="*/ 0 h 683"/>
                    <a:gd name="T32" fmla="*/ 132 w 132"/>
                    <a:gd name="T33" fmla="*/ 683 h 68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32" h="683">
                      <a:moveTo>
                        <a:pt x="0" y="683"/>
                      </a:moveTo>
                      <a:lnTo>
                        <a:pt x="76" y="222"/>
                      </a:lnTo>
                      <a:lnTo>
                        <a:pt x="117" y="6"/>
                      </a:lnTo>
                      <a:lnTo>
                        <a:pt x="118" y="1"/>
                      </a:lnTo>
                      <a:lnTo>
                        <a:pt x="122" y="0"/>
                      </a:lnTo>
                      <a:lnTo>
                        <a:pt x="128" y="0"/>
                      </a:lnTo>
                      <a:lnTo>
                        <a:pt x="132" y="0"/>
                      </a:lnTo>
                      <a:lnTo>
                        <a:pt x="96" y="230"/>
                      </a:lnTo>
                      <a:lnTo>
                        <a:pt x="20" y="683"/>
                      </a:lnTo>
                      <a:lnTo>
                        <a:pt x="0" y="683"/>
                      </a:lnTo>
                      <a:close/>
                    </a:path>
                  </a:pathLst>
                </a:custGeom>
                <a:solidFill>
                  <a:srgbClr val="000000"/>
                </a:solidFill>
                <a:ln w="9525">
                  <a:noFill/>
                  <a:round/>
                  <a:headEnd/>
                  <a:tailEnd/>
                </a:ln>
              </p:spPr>
              <p:txBody>
                <a:bodyPr/>
                <a:lstStyle/>
                <a:p>
                  <a:endParaRPr lang="ja-JP" altLang="en-US" sz="1600" b="1">
                    <a:latin typeface="Times New Roman" charset="0"/>
                    <a:cs typeface="Times New Roman" charset="0"/>
                  </a:endParaRPr>
                </a:p>
              </p:txBody>
            </p:sp>
            <p:sp>
              <p:nvSpPr>
                <p:cNvPr id="46167" name="Freeform 159"/>
                <p:cNvSpPr>
                  <a:spLocks/>
                </p:cNvSpPr>
                <p:nvPr/>
              </p:nvSpPr>
              <p:spPr bwMode="auto">
                <a:xfrm>
                  <a:off x="4929" y="3369"/>
                  <a:ext cx="15" cy="68"/>
                </a:xfrm>
                <a:custGeom>
                  <a:avLst/>
                  <a:gdLst>
                    <a:gd name="T0" fmla="*/ 0 w 92"/>
                    <a:gd name="T1" fmla="*/ 0 h 409"/>
                    <a:gd name="T2" fmla="*/ 0 w 92"/>
                    <a:gd name="T3" fmla="*/ 0 h 409"/>
                    <a:gd name="T4" fmla="*/ 0 w 92"/>
                    <a:gd name="T5" fmla="*/ 0 h 409"/>
                    <a:gd name="T6" fmla="*/ 0 w 92"/>
                    <a:gd name="T7" fmla="*/ 0 h 409"/>
                    <a:gd name="T8" fmla="*/ 0 w 92"/>
                    <a:gd name="T9" fmla="*/ 0 h 409"/>
                    <a:gd name="T10" fmla="*/ 0 60000 65536"/>
                    <a:gd name="T11" fmla="*/ 0 60000 65536"/>
                    <a:gd name="T12" fmla="*/ 0 60000 65536"/>
                    <a:gd name="T13" fmla="*/ 0 60000 65536"/>
                    <a:gd name="T14" fmla="*/ 0 60000 65536"/>
                    <a:gd name="T15" fmla="*/ 0 w 92"/>
                    <a:gd name="T16" fmla="*/ 0 h 409"/>
                    <a:gd name="T17" fmla="*/ 92 w 92"/>
                    <a:gd name="T18" fmla="*/ 409 h 409"/>
                  </a:gdLst>
                  <a:ahLst/>
                  <a:cxnLst>
                    <a:cxn ang="T10">
                      <a:pos x="T0" y="T1"/>
                    </a:cxn>
                    <a:cxn ang="T11">
                      <a:pos x="T2" y="T3"/>
                    </a:cxn>
                    <a:cxn ang="T12">
                      <a:pos x="T4" y="T5"/>
                    </a:cxn>
                    <a:cxn ang="T13">
                      <a:pos x="T6" y="T7"/>
                    </a:cxn>
                    <a:cxn ang="T14">
                      <a:pos x="T8" y="T9"/>
                    </a:cxn>
                  </a:cxnLst>
                  <a:rect l="T15" t="T16" r="T17" b="T18"/>
                  <a:pathLst>
                    <a:path w="92" h="409">
                      <a:moveTo>
                        <a:pt x="92" y="407"/>
                      </a:moveTo>
                      <a:lnTo>
                        <a:pt x="82" y="0"/>
                      </a:lnTo>
                      <a:lnTo>
                        <a:pt x="0" y="1"/>
                      </a:lnTo>
                      <a:lnTo>
                        <a:pt x="10" y="409"/>
                      </a:lnTo>
                      <a:lnTo>
                        <a:pt x="92" y="407"/>
                      </a:lnTo>
                      <a:close/>
                    </a:path>
                  </a:pathLst>
                </a:custGeom>
                <a:solidFill>
                  <a:srgbClr val="9EE8FF"/>
                </a:solidFill>
                <a:ln w="9525">
                  <a:noFill/>
                  <a:round/>
                  <a:headEnd/>
                  <a:tailEnd/>
                </a:ln>
              </p:spPr>
              <p:txBody>
                <a:bodyPr/>
                <a:lstStyle/>
                <a:p>
                  <a:endParaRPr lang="ja-JP" altLang="en-US" sz="1600" b="1">
                    <a:latin typeface="Times New Roman" charset="0"/>
                    <a:cs typeface="Times New Roman" charset="0"/>
                  </a:endParaRPr>
                </a:p>
              </p:txBody>
            </p:sp>
            <p:sp>
              <p:nvSpPr>
                <p:cNvPr id="46168" name="Freeform 160"/>
                <p:cNvSpPr>
                  <a:spLocks/>
                </p:cNvSpPr>
                <p:nvPr/>
              </p:nvSpPr>
              <p:spPr bwMode="auto">
                <a:xfrm>
                  <a:off x="4948" y="3343"/>
                  <a:ext cx="15" cy="93"/>
                </a:xfrm>
                <a:custGeom>
                  <a:avLst/>
                  <a:gdLst>
                    <a:gd name="T0" fmla="*/ 0 w 93"/>
                    <a:gd name="T1" fmla="*/ 0 h 564"/>
                    <a:gd name="T2" fmla="*/ 0 w 93"/>
                    <a:gd name="T3" fmla="*/ 0 h 564"/>
                    <a:gd name="T4" fmla="*/ 0 w 93"/>
                    <a:gd name="T5" fmla="*/ 0 h 564"/>
                    <a:gd name="T6" fmla="*/ 0 w 93"/>
                    <a:gd name="T7" fmla="*/ 0 h 564"/>
                    <a:gd name="T8" fmla="*/ 0 w 93"/>
                    <a:gd name="T9" fmla="*/ 0 h 564"/>
                    <a:gd name="T10" fmla="*/ 0 60000 65536"/>
                    <a:gd name="T11" fmla="*/ 0 60000 65536"/>
                    <a:gd name="T12" fmla="*/ 0 60000 65536"/>
                    <a:gd name="T13" fmla="*/ 0 60000 65536"/>
                    <a:gd name="T14" fmla="*/ 0 60000 65536"/>
                    <a:gd name="T15" fmla="*/ 0 w 93"/>
                    <a:gd name="T16" fmla="*/ 0 h 564"/>
                    <a:gd name="T17" fmla="*/ 93 w 93"/>
                    <a:gd name="T18" fmla="*/ 564 h 564"/>
                  </a:gdLst>
                  <a:ahLst/>
                  <a:cxnLst>
                    <a:cxn ang="T10">
                      <a:pos x="T0" y="T1"/>
                    </a:cxn>
                    <a:cxn ang="T11">
                      <a:pos x="T2" y="T3"/>
                    </a:cxn>
                    <a:cxn ang="T12">
                      <a:pos x="T4" y="T5"/>
                    </a:cxn>
                    <a:cxn ang="T13">
                      <a:pos x="T6" y="T7"/>
                    </a:cxn>
                    <a:cxn ang="T14">
                      <a:pos x="T8" y="T9"/>
                    </a:cxn>
                  </a:cxnLst>
                  <a:rect l="T15" t="T16" r="T17" b="T18"/>
                  <a:pathLst>
                    <a:path w="93" h="564">
                      <a:moveTo>
                        <a:pt x="93" y="561"/>
                      </a:moveTo>
                      <a:lnTo>
                        <a:pt x="82" y="0"/>
                      </a:lnTo>
                      <a:lnTo>
                        <a:pt x="0" y="2"/>
                      </a:lnTo>
                      <a:lnTo>
                        <a:pt x="9" y="564"/>
                      </a:lnTo>
                      <a:lnTo>
                        <a:pt x="93" y="561"/>
                      </a:lnTo>
                      <a:close/>
                    </a:path>
                  </a:pathLst>
                </a:custGeom>
                <a:solidFill>
                  <a:srgbClr val="9EE8FF"/>
                </a:solidFill>
                <a:ln w="9525">
                  <a:noFill/>
                  <a:round/>
                  <a:headEnd/>
                  <a:tailEnd/>
                </a:ln>
              </p:spPr>
              <p:txBody>
                <a:bodyPr/>
                <a:lstStyle/>
                <a:p>
                  <a:endParaRPr lang="ja-JP" altLang="en-US" sz="1600" b="1">
                    <a:latin typeface="Times New Roman" charset="0"/>
                    <a:cs typeface="Times New Roman" charset="0"/>
                  </a:endParaRPr>
                </a:p>
              </p:txBody>
            </p:sp>
            <p:sp>
              <p:nvSpPr>
                <p:cNvPr id="46169" name="Freeform 161"/>
                <p:cNvSpPr>
                  <a:spLocks/>
                </p:cNvSpPr>
                <p:nvPr/>
              </p:nvSpPr>
              <p:spPr bwMode="auto">
                <a:xfrm>
                  <a:off x="4967" y="3358"/>
                  <a:ext cx="16" cy="77"/>
                </a:xfrm>
                <a:custGeom>
                  <a:avLst/>
                  <a:gdLst>
                    <a:gd name="T0" fmla="*/ 0 w 93"/>
                    <a:gd name="T1" fmla="*/ 0 h 465"/>
                    <a:gd name="T2" fmla="*/ 0 w 93"/>
                    <a:gd name="T3" fmla="*/ 0 h 465"/>
                    <a:gd name="T4" fmla="*/ 0 w 93"/>
                    <a:gd name="T5" fmla="*/ 0 h 465"/>
                    <a:gd name="T6" fmla="*/ 0 w 93"/>
                    <a:gd name="T7" fmla="*/ 0 h 465"/>
                    <a:gd name="T8" fmla="*/ 0 w 93"/>
                    <a:gd name="T9" fmla="*/ 0 h 465"/>
                    <a:gd name="T10" fmla="*/ 0 60000 65536"/>
                    <a:gd name="T11" fmla="*/ 0 60000 65536"/>
                    <a:gd name="T12" fmla="*/ 0 60000 65536"/>
                    <a:gd name="T13" fmla="*/ 0 60000 65536"/>
                    <a:gd name="T14" fmla="*/ 0 60000 65536"/>
                    <a:gd name="T15" fmla="*/ 0 w 93"/>
                    <a:gd name="T16" fmla="*/ 0 h 465"/>
                    <a:gd name="T17" fmla="*/ 93 w 93"/>
                    <a:gd name="T18" fmla="*/ 465 h 465"/>
                  </a:gdLst>
                  <a:ahLst/>
                  <a:cxnLst>
                    <a:cxn ang="T10">
                      <a:pos x="T0" y="T1"/>
                    </a:cxn>
                    <a:cxn ang="T11">
                      <a:pos x="T2" y="T3"/>
                    </a:cxn>
                    <a:cxn ang="T12">
                      <a:pos x="T4" y="T5"/>
                    </a:cxn>
                    <a:cxn ang="T13">
                      <a:pos x="T6" y="T7"/>
                    </a:cxn>
                    <a:cxn ang="T14">
                      <a:pos x="T8" y="T9"/>
                    </a:cxn>
                  </a:cxnLst>
                  <a:rect l="T15" t="T16" r="T17" b="T18"/>
                  <a:pathLst>
                    <a:path w="93" h="465">
                      <a:moveTo>
                        <a:pt x="93" y="464"/>
                      </a:moveTo>
                      <a:lnTo>
                        <a:pt x="82" y="0"/>
                      </a:lnTo>
                      <a:lnTo>
                        <a:pt x="0" y="3"/>
                      </a:lnTo>
                      <a:lnTo>
                        <a:pt x="10" y="465"/>
                      </a:lnTo>
                      <a:lnTo>
                        <a:pt x="93" y="464"/>
                      </a:lnTo>
                      <a:close/>
                    </a:path>
                  </a:pathLst>
                </a:custGeom>
                <a:solidFill>
                  <a:srgbClr val="9EE8FF"/>
                </a:solidFill>
                <a:ln w="9525">
                  <a:noFill/>
                  <a:round/>
                  <a:headEnd/>
                  <a:tailEnd/>
                </a:ln>
              </p:spPr>
              <p:txBody>
                <a:bodyPr/>
                <a:lstStyle/>
                <a:p>
                  <a:endParaRPr lang="ja-JP" altLang="en-US" sz="1600" b="1">
                    <a:latin typeface="Times New Roman" charset="0"/>
                    <a:cs typeface="Times New Roman" charset="0"/>
                  </a:endParaRPr>
                </a:p>
              </p:txBody>
            </p:sp>
          </p:grpSp>
        </p:grpSp>
        <p:grpSp>
          <p:nvGrpSpPr>
            <p:cNvPr id="12" name="Group 162"/>
            <p:cNvGrpSpPr>
              <a:grpSpLocks/>
            </p:cNvGrpSpPr>
            <p:nvPr/>
          </p:nvGrpSpPr>
          <p:grpSpPr bwMode="auto">
            <a:xfrm>
              <a:off x="2184" y="1483"/>
              <a:ext cx="2061" cy="2259"/>
              <a:chOff x="2184" y="1483"/>
              <a:chExt cx="2061" cy="2259"/>
            </a:xfrm>
          </p:grpSpPr>
          <p:sp>
            <p:nvSpPr>
              <p:cNvPr id="46106" name="Rectangle 163"/>
              <p:cNvSpPr>
                <a:spLocks noChangeArrowheads="1"/>
              </p:cNvSpPr>
              <p:nvPr/>
            </p:nvSpPr>
            <p:spPr bwMode="gray">
              <a:xfrm>
                <a:off x="2213" y="1968"/>
                <a:ext cx="1952" cy="960"/>
              </a:xfrm>
              <a:prstGeom prst="rect">
                <a:avLst/>
              </a:prstGeom>
              <a:solidFill>
                <a:srgbClr val="3399FF">
                  <a:alpha val="50195"/>
                </a:srgbClr>
              </a:solidFill>
              <a:ln w="9525">
                <a:noFill/>
                <a:miter lim="800000"/>
                <a:headEnd/>
                <a:tailEnd/>
              </a:ln>
            </p:spPr>
            <p:txBody>
              <a:bodyPr wrap="none" anchor="ctr"/>
              <a:lstStyle/>
              <a:p>
                <a:endParaRPr lang="ja-JP" altLang="en-US" sz="1600" b="1">
                  <a:latin typeface="Times New Roman" charset="0"/>
                  <a:cs typeface="Times New Roman" charset="0"/>
                </a:endParaRPr>
              </a:p>
            </p:txBody>
          </p:sp>
          <p:pic>
            <p:nvPicPr>
              <p:cNvPr id="46107" name="Picture 164" descr="PC200-8 Back"/>
              <p:cNvPicPr>
                <a:picLocks noChangeAspect="1" noChangeArrowheads="1"/>
              </p:cNvPicPr>
              <p:nvPr/>
            </p:nvPicPr>
            <p:blipFill>
              <a:blip r:embed="rId3" cstate="print">
                <a:clrChange>
                  <a:clrFrom>
                    <a:srgbClr val="FFFFFF"/>
                  </a:clrFrom>
                  <a:clrTo>
                    <a:srgbClr val="FFFFFF">
                      <a:alpha val="0"/>
                    </a:srgbClr>
                  </a:clrTo>
                </a:clrChange>
              </a:blip>
              <a:srcRect/>
              <a:stretch>
                <a:fillRect/>
              </a:stretch>
            </p:blipFill>
            <p:spPr bwMode="auto">
              <a:xfrm>
                <a:off x="3180" y="2376"/>
                <a:ext cx="996" cy="1023"/>
              </a:xfrm>
              <a:prstGeom prst="rect">
                <a:avLst/>
              </a:prstGeom>
              <a:noFill/>
              <a:ln w="9525">
                <a:noFill/>
                <a:miter lim="800000"/>
                <a:headEnd/>
                <a:tailEnd/>
              </a:ln>
            </p:spPr>
          </p:pic>
          <p:grpSp>
            <p:nvGrpSpPr>
              <p:cNvPr id="13" name="Group 165"/>
              <p:cNvGrpSpPr>
                <a:grpSpLocks/>
              </p:cNvGrpSpPr>
              <p:nvPr/>
            </p:nvGrpSpPr>
            <p:grpSpPr bwMode="auto">
              <a:xfrm>
                <a:off x="2690" y="1483"/>
                <a:ext cx="119" cy="768"/>
                <a:chOff x="2690" y="1483"/>
                <a:chExt cx="119" cy="768"/>
              </a:xfrm>
            </p:grpSpPr>
            <p:sp>
              <p:nvSpPr>
                <p:cNvPr id="46133" name="Line 166"/>
                <p:cNvSpPr>
                  <a:spLocks noChangeShapeType="1"/>
                </p:cNvSpPr>
                <p:nvPr/>
              </p:nvSpPr>
              <p:spPr bwMode="gray">
                <a:xfrm rot="21246511" flipH="1">
                  <a:off x="2690" y="1670"/>
                  <a:ext cx="46" cy="581"/>
                </a:xfrm>
                <a:prstGeom prst="line">
                  <a:avLst/>
                </a:prstGeom>
                <a:noFill/>
                <a:ln w="28575">
                  <a:solidFill>
                    <a:srgbClr val="000066"/>
                  </a:solidFill>
                  <a:round/>
                  <a:headEnd/>
                  <a:tailEnd type="triangle" w="sm" len="sm"/>
                </a:ln>
              </p:spPr>
              <p:txBody>
                <a:bodyPr/>
                <a:lstStyle/>
                <a:p>
                  <a:endParaRPr lang="en-US" sz="1600" b="1"/>
                </a:p>
              </p:txBody>
            </p:sp>
            <p:sp>
              <p:nvSpPr>
                <p:cNvPr id="46134" name="Line 167"/>
                <p:cNvSpPr>
                  <a:spLocks noChangeShapeType="1"/>
                </p:cNvSpPr>
                <p:nvPr/>
              </p:nvSpPr>
              <p:spPr bwMode="gray">
                <a:xfrm rot="-353489">
                  <a:off x="2725" y="1667"/>
                  <a:ext cx="48" cy="357"/>
                </a:xfrm>
                <a:prstGeom prst="line">
                  <a:avLst/>
                </a:prstGeom>
                <a:noFill/>
                <a:ln w="28575">
                  <a:solidFill>
                    <a:srgbClr val="000066"/>
                  </a:solidFill>
                  <a:round/>
                  <a:headEnd/>
                  <a:tailEnd/>
                </a:ln>
              </p:spPr>
              <p:txBody>
                <a:bodyPr/>
                <a:lstStyle/>
                <a:p>
                  <a:endParaRPr lang="en-US" sz="1600" b="1"/>
                </a:p>
              </p:txBody>
            </p:sp>
            <p:sp>
              <p:nvSpPr>
                <p:cNvPr id="46135" name="Line 168"/>
                <p:cNvSpPr>
                  <a:spLocks noChangeShapeType="1"/>
                </p:cNvSpPr>
                <p:nvPr/>
              </p:nvSpPr>
              <p:spPr bwMode="gray">
                <a:xfrm rot="21246511" flipV="1">
                  <a:off x="2761" y="1483"/>
                  <a:ext cx="48" cy="491"/>
                </a:xfrm>
                <a:prstGeom prst="line">
                  <a:avLst/>
                </a:prstGeom>
                <a:noFill/>
                <a:ln w="28575">
                  <a:solidFill>
                    <a:srgbClr val="000066"/>
                  </a:solidFill>
                  <a:round/>
                  <a:headEnd/>
                  <a:tailEnd/>
                </a:ln>
              </p:spPr>
              <p:txBody>
                <a:bodyPr/>
                <a:lstStyle/>
                <a:p>
                  <a:endParaRPr lang="en-US" sz="1600" b="1"/>
                </a:p>
              </p:txBody>
            </p:sp>
          </p:grpSp>
          <p:sp>
            <p:nvSpPr>
              <p:cNvPr id="46109" name="Rectangle 169"/>
              <p:cNvSpPr>
                <a:spLocks noChangeArrowheads="1"/>
              </p:cNvSpPr>
              <p:nvPr/>
            </p:nvSpPr>
            <p:spPr bwMode="gray">
              <a:xfrm>
                <a:off x="2259" y="1812"/>
                <a:ext cx="997" cy="220"/>
              </a:xfrm>
              <a:prstGeom prst="rect">
                <a:avLst/>
              </a:prstGeom>
              <a:solidFill>
                <a:srgbClr val="CCECFF"/>
              </a:solidFill>
              <a:ln w="9525">
                <a:solidFill>
                  <a:schemeClr val="tx1"/>
                </a:solidFill>
                <a:miter lim="800000"/>
                <a:headEnd/>
                <a:tailEnd/>
              </a:ln>
            </p:spPr>
            <p:txBody>
              <a:bodyPr wrap="square" anchor="ctr">
                <a:spAutoFit/>
              </a:bodyPr>
              <a:lstStyle/>
              <a:p>
                <a:r>
                  <a:rPr lang="en-US" altLang="ja-JP" sz="1600" b="1">
                    <a:latin typeface="Times New Roman" charset="0"/>
                    <a:cs typeface="Times New Roman" charset="0"/>
                  </a:rPr>
                  <a:t>KOMTRAX Terminal</a:t>
                </a:r>
              </a:p>
            </p:txBody>
          </p:sp>
          <p:grpSp>
            <p:nvGrpSpPr>
              <p:cNvPr id="14" name="Group 170"/>
              <p:cNvGrpSpPr>
                <a:grpSpLocks/>
              </p:cNvGrpSpPr>
              <p:nvPr/>
            </p:nvGrpSpPr>
            <p:grpSpPr bwMode="auto">
              <a:xfrm>
                <a:off x="2222" y="2113"/>
                <a:ext cx="1960" cy="1343"/>
                <a:chOff x="2222" y="2113"/>
                <a:chExt cx="1960" cy="1343"/>
              </a:xfrm>
            </p:grpSpPr>
            <p:sp>
              <p:nvSpPr>
                <p:cNvPr id="46127" name="AutoShape 171"/>
                <p:cNvSpPr>
                  <a:spLocks noChangeArrowheads="1"/>
                </p:cNvSpPr>
                <p:nvPr/>
              </p:nvSpPr>
              <p:spPr bwMode="gray">
                <a:xfrm>
                  <a:off x="2313" y="2211"/>
                  <a:ext cx="752" cy="243"/>
                </a:xfrm>
                <a:prstGeom prst="roundRect">
                  <a:avLst>
                    <a:gd name="adj" fmla="val 16667"/>
                  </a:avLst>
                </a:prstGeom>
                <a:solidFill>
                  <a:srgbClr val="FFFFCC"/>
                </a:solidFill>
                <a:ln w="9525">
                  <a:solidFill>
                    <a:schemeClr val="tx1"/>
                  </a:solidFill>
                  <a:round/>
                  <a:headEnd/>
                  <a:tailEnd/>
                </a:ln>
              </p:spPr>
              <p:txBody>
                <a:bodyPr wrap="square" anchor="ctr" anchorCtr="1">
                  <a:spAutoFit/>
                </a:bodyPr>
                <a:lstStyle/>
                <a:p>
                  <a:pPr algn="ctr"/>
                  <a:r>
                    <a:rPr lang="en-US" altLang="ja-JP" sz="1600" b="1" dirty="0" smtClean="0">
                      <a:latin typeface="Times New Roman" charset="0"/>
                      <a:cs typeface="Times New Roman" charset="0"/>
                    </a:rPr>
                    <a:t>GPS antenna</a:t>
                  </a:r>
                  <a:endParaRPr lang="en-US" altLang="ja-JP" sz="1600" b="1" dirty="0">
                    <a:latin typeface="Times New Roman" charset="0"/>
                    <a:cs typeface="Times New Roman" charset="0"/>
                  </a:endParaRPr>
                </a:p>
              </p:txBody>
            </p:sp>
            <p:sp>
              <p:nvSpPr>
                <p:cNvPr id="46128" name="AutoShape 172"/>
                <p:cNvSpPr>
                  <a:spLocks noChangeArrowheads="1"/>
                </p:cNvSpPr>
                <p:nvPr/>
              </p:nvSpPr>
              <p:spPr bwMode="gray">
                <a:xfrm>
                  <a:off x="2222" y="2950"/>
                  <a:ext cx="798" cy="243"/>
                </a:xfrm>
                <a:prstGeom prst="roundRect">
                  <a:avLst>
                    <a:gd name="adj" fmla="val 16667"/>
                  </a:avLst>
                </a:prstGeom>
                <a:solidFill>
                  <a:srgbClr val="FFFFCC"/>
                </a:solidFill>
                <a:ln w="9525">
                  <a:solidFill>
                    <a:schemeClr val="tx1"/>
                  </a:solidFill>
                  <a:round/>
                  <a:headEnd/>
                  <a:tailEnd/>
                </a:ln>
              </p:spPr>
              <p:txBody>
                <a:bodyPr wrap="square" anchor="ctr" anchorCtr="1">
                  <a:spAutoFit/>
                </a:bodyPr>
                <a:lstStyle/>
                <a:p>
                  <a:pPr algn="ctr">
                    <a:spcBef>
                      <a:spcPct val="50000"/>
                    </a:spcBef>
                  </a:pPr>
                  <a:r>
                    <a:rPr lang="en-US" altLang="ja-JP" sz="1600" b="1" dirty="0">
                      <a:latin typeface="Times New Roman" charset="0"/>
                      <a:cs typeface="Times New Roman" charset="0"/>
                    </a:rPr>
                    <a:t>Pump controller</a:t>
                  </a:r>
                </a:p>
              </p:txBody>
            </p:sp>
            <p:sp>
              <p:nvSpPr>
                <p:cNvPr id="46129" name="AutoShape 173"/>
                <p:cNvSpPr>
                  <a:spLocks noChangeArrowheads="1"/>
                </p:cNvSpPr>
                <p:nvPr/>
              </p:nvSpPr>
              <p:spPr bwMode="gray">
                <a:xfrm>
                  <a:off x="2259" y="2542"/>
                  <a:ext cx="692" cy="349"/>
                </a:xfrm>
                <a:prstGeom prst="roundRect">
                  <a:avLst>
                    <a:gd name="adj" fmla="val 16667"/>
                  </a:avLst>
                </a:prstGeom>
                <a:solidFill>
                  <a:srgbClr val="FFFFCC"/>
                </a:solidFill>
                <a:ln w="9525">
                  <a:solidFill>
                    <a:schemeClr val="tx1"/>
                  </a:solidFill>
                  <a:round/>
                  <a:headEnd/>
                  <a:tailEnd/>
                </a:ln>
              </p:spPr>
              <p:txBody>
                <a:bodyPr wrap="square" anchor="ctr" anchorCtr="1">
                  <a:spAutoFit/>
                </a:bodyPr>
                <a:lstStyle/>
                <a:p>
                  <a:pPr algn="ctr">
                    <a:lnSpc>
                      <a:spcPct val="80000"/>
                    </a:lnSpc>
                    <a:spcBef>
                      <a:spcPct val="50000"/>
                    </a:spcBef>
                  </a:pPr>
                  <a:r>
                    <a:rPr lang="en-US" altLang="ja-JP" sz="1600" b="1">
                      <a:latin typeface="Times New Roman" charset="0"/>
                      <a:cs typeface="Times New Roman" charset="0"/>
                    </a:rPr>
                    <a:t>KOMTRAX Controller</a:t>
                  </a:r>
                </a:p>
              </p:txBody>
            </p:sp>
            <p:sp>
              <p:nvSpPr>
                <p:cNvPr id="46130" name="AutoShape 174"/>
                <p:cNvSpPr>
                  <a:spLocks noChangeArrowheads="1"/>
                </p:cNvSpPr>
                <p:nvPr/>
              </p:nvSpPr>
              <p:spPr bwMode="gray">
                <a:xfrm>
                  <a:off x="2227" y="3246"/>
                  <a:ext cx="732" cy="210"/>
                </a:xfrm>
                <a:prstGeom prst="roundRect">
                  <a:avLst>
                    <a:gd name="adj" fmla="val 16667"/>
                  </a:avLst>
                </a:prstGeom>
                <a:solidFill>
                  <a:srgbClr val="FFFFCC"/>
                </a:solidFill>
                <a:ln w="9525">
                  <a:solidFill>
                    <a:schemeClr val="tx1"/>
                  </a:solidFill>
                  <a:round/>
                  <a:headEnd/>
                  <a:tailEnd/>
                </a:ln>
              </p:spPr>
              <p:txBody>
                <a:bodyPr wrap="none" anchor="ctr" anchorCtr="1"/>
                <a:lstStyle/>
                <a:p>
                  <a:pPr algn="ctr">
                    <a:spcBef>
                      <a:spcPct val="50000"/>
                    </a:spcBef>
                  </a:pPr>
                  <a:r>
                    <a:rPr lang="en-US" altLang="ja-JP" sz="1600" b="1" dirty="0">
                      <a:latin typeface="Times New Roman" charset="0"/>
                      <a:cs typeface="Times New Roman" charset="0"/>
                    </a:rPr>
                    <a:t>Engine controller</a:t>
                  </a:r>
                </a:p>
              </p:txBody>
            </p:sp>
            <p:sp>
              <p:nvSpPr>
                <p:cNvPr id="46131" name="AutoShape 175"/>
                <p:cNvSpPr>
                  <a:spLocks noChangeArrowheads="1"/>
                </p:cNvSpPr>
                <p:nvPr/>
              </p:nvSpPr>
              <p:spPr bwMode="gray">
                <a:xfrm>
                  <a:off x="3421" y="2113"/>
                  <a:ext cx="761" cy="420"/>
                </a:xfrm>
                <a:prstGeom prst="roundRect">
                  <a:avLst>
                    <a:gd name="adj" fmla="val 16667"/>
                  </a:avLst>
                </a:prstGeom>
                <a:solidFill>
                  <a:srgbClr val="FFFFCC"/>
                </a:solidFill>
                <a:ln w="9525">
                  <a:solidFill>
                    <a:schemeClr val="tx1"/>
                  </a:solidFill>
                  <a:round/>
                  <a:headEnd/>
                  <a:tailEnd/>
                </a:ln>
              </p:spPr>
              <p:txBody>
                <a:bodyPr wrap="square" anchor="ctr" anchorCtr="1">
                  <a:spAutoFit/>
                </a:bodyPr>
                <a:lstStyle/>
                <a:p>
                  <a:pPr algn="ctr">
                    <a:spcBef>
                      <a:spcPct val="50000"/>
                    </a:spcBef>
                  </a:pPr>
                  <a:r>
                    <a:rPr lang="en-US" altLang="ja-JP" sz="1600" b="1" dirty="0">
                      <a:latin typeface="Times New Roman" charset="0"/>
                      <a:cs typeface="Times New Roman" charset="0"/>
                    </a:rPr>
                    <a:t>Communication antenna</a:t>
                  </a:r>
                </a:p>
              </p:txBody>
            </p:sp>
            <p:sp>
              <p:nvSpPr>
                <p:cNvPr id="46132" name="AutoShape 176"/>
                <p:cNvSpPr>
                  <a:spLocks noChangeArrowheads="1"/>
                </p:cNvSpPr>
                <p:nvPr/>
              </p:nvSpPr>
              <p:spPr bwMode="gray">
                <a:xfrm>
                  <a:off x="3434" y="2605"/>
                  <a:ext cx="724" cy="243"/>
                </a:xfrm>
                <a:prstGeom prst="roundRect">
                  <a:avLst>
                    <a:gd name="adj" fmla="val 16667"/>
                  </a:avLst>
                </a:prstGeom>
                <a:solidFill>
                  <a:srgbClr val="FFFFCC"/>
                </a:solidFill>
                <a:ln w="9525">
                  <a:solidFill>
                    <a:schemeClr val="tx1"/>
                  </a:solidFill>
                  <a:round/>
                  <a:headEnd/>
                  <a:tailEnd/>
                </a:ln>
              </p:spPr>
              <p:txBody>
                <a:bodyPr anchor="ctr" anchorCtr="1">
                  <a:spAutoFit/>
                </a:bodyPr>
                <a:lstStyle/>
                <a:p>
                  <a:pPr algn="ctr">
                    <a:spcBef>
                      <a:spcPct val="50000"/>
                    </a:spcBef>
                  </a:pPr>
                  <a:r>
                    <a:rPr lang="en-US" altLang="ja-JP" sz="1600" b="1">
                      <a:latin typeface="Times New Roman" charset="0"/>
                      <a:cs typeface="Times New Roman" charset="0"/>
                    </a:rPr>
                    <a:t>Modem</a:t>
                  </a:r>
                </a:p>
              </p:txBody>
            </p:sp>
          </p:grpSp>
          <p:grpSp>
            <p:nvGrpSpPr>
              <p:cNvPr id="15" name="Group 177"/>
              <p:cNvGrpSpPr>
                <a:grpSpLocks/>
              </p:cNvGrpSpPr>
              <p:nvPr/>
            </p:nvGrpSpPr>
            <p:grpSpPr bwMode="auto">
              <a:xfrm>
                <a:off x="2184" y="1860"/>
                <a:ext cx="2061" cy="1882"/>
                <a:chOff x="2184" y="1860"/>
                <a:chExt cx="2061" cy="1882"/>
              </a:xfrm>
            </p:grpSpPr>
            <p:sp>
              <p:nvSpPr>
                <p:cNvPr id="46125" name="Rectangle 178"/>
                <p:cNvSpPr>
                  <a:spLocks noChangeArrowheads="1"/>
                </p:cNvSpPr>
                <p:nvPr/>
              </p:nvSpPr>
              <p:spPr bwMode="gray">
                <a:xfrm>
                  <a:off x="2184" y="1860"/>
                  <a:ext cx="2061" cy="1860"/>
                </a:xfrm>
                <a:prstGeom prst="rect">
                  <a:avLst/>
                </a:prstGeom>
                <a:noFill/>
                <a:ln w="19050">
                  <a:solidFill>
                    <a:srgbClr val="000066"/>
                  </a:solidFill>
                  <a:miter lim="800000"/>
                  <a:headEnd/>
                  <a:tailEnd/>
                </a:ln>
              </p:spPr>
              <p:txBody>
                <a:bodyPr wrap="none" anchor="ctr"/>
                <a:lstStyle/>
                <a:p>
                  <a:endParaRPr lang="ja-JP" altLang="en-US" sz="1600" b="1">
                    <a:latin typeface="Times New Roman" charset="0"/>
                    <a:cs typeface="Times New Roman" charset="0"/>
                  </a:endParaRPr>
                </a:p>
              </p:txBody>
            </p:sp>
            <p:sp>
              <p:nvSpPr>
                <p:cNvPr id="46126" name="Text Box 179"/>
                <p:cNvSpPr txBox="1">
                  <a:spLocks noChangeArrowheads="1"/>
                </p:cNvSpPr>
                <p:nvPr/>
              </p:nvSpPr>
              <p:spPr bwMode="auto">
                <a:xfrm>
                  <a:off x="3812" y="3522"/>
                  <a:ext cx="430" cy="220"/>
                </a:xfrm>
                <a:prstGeom prst="rect">
                  <a:avLst/>
                </a:prstGeom>
                <a:noFill/>
                <a:ln w="25400">
                  <a:solidFill>
                    <a:srgbClr val="000066"/>
                  </a:solidFill>
                  <a:miter lim="800000"/>
                  <a:headEnd/>
                  <a:tailEnd/>
                </a:ln>
              </p:spPr>
              <p:txBody>
                <a:bodyPr wrap="square">
                  <a:spAutoFit/>
                </a:bodyPr>
                <a:lstStyle/>
                <a:p>
                  <a:pPr algn="r"/>
                  <a:r>
                    <a:rPr lang="en-US" altLang="ja-JP" sz="1600" b="1">
                      <a:latin typeface="Times New Roman" charset="0"/>
                      <a:cs typeface="Times New Roman" charset="0"/>
                    </a:rPr>
                    <a:t>Machine</a:t>
                  </a:r>
                </a:p>
              </p:txBody>
            </p:sp>
          </p:grpSp>
          <p:grpSp>
            <p:nvGrpSpPr>
              <p:cNvPr id="16" name="Group 180"/>
              <p:cNvGrpSpPr>
                <a:grpSpLocks/>
              </p:cNvGrpSpPr>
              <p:nvPr/>
            </p:nvGrpSpPr>
            <p:grpSpPr bwMode="auto">
              <a:xfrm>
                <a:off x="3684" y="1676"/>
                <a:ext cx="166" cy="571"/>
                <a:chOff x="3684" y="1676"/>
                <a:chExt cx="166" cy="571"/>
              </a:xfrm>
            </p:grpSpPr>
            <p:sp>
              <p:nvSpPr>
                <p:cNvPr id="46122" name="Line 181"/>
                <p:cNvSpPr>
                  <a:spLocks noChangeShapeType="1"/>
                </p:cNvSpPr>
                <p:nvPr/>
              </p:nvSpPr>
              <p:spPr bwMode="gray">
                <a:xfrm rot="21057859" flipH="1">
                  <a:off x="3684" y="1831"/>
                  <a:ext cx="92" cy="416"/>
                </a:xfrm>
                <a:prstGeom prst="line">
                  <a:avLst/>
                </a:prstGeom>
                <a:noFill/>
                <a:ln w="28575">
                  <a:solidFill>
                    <a:srgbClr val="000066"/>
                  </a:solidFill>
                  <a:round/>
                  <a:headEnd/>
                  <a:tailEnd type="triangle" w="sm" len="sm"/>
                </a:ln>
              </p:spPr>
              <p:txBody>
                <a:bodyPr/>
                <a:lstStyle/>
                <a:p>
                  <a:endParaRPr lang="en-US" sz="1600" b="1"/>
                </a:p>
              </p:txBody>
            </p:sp>
            <p:sp>
              <p:nvSpPr>
                <p:cNvPr id="46123" name="Line 182"/>
                <p:cNvSpPr>
                  <a:spLocks noChangeShapeType="1"/>
                </p:cNvSpPr>
                <p:nvPr/>
              </p:nvSpPr>
              <p:spPr bwMode="gray">
                <a:xfrm rot="-542141">
                  <a:off x="3767" y="1827"/>
                  <a:ext cx="0" cy="288"/>
                </a:xfrm>
                <a:prstGeom prst="line">
                  <a:avLst/>
                </a:prstGeom>
                <a:noFill/>
                <a:ln w="28575">
                  <a:solidFill>
                    <a:srgbClr val="000066"/>
                  </a:solidFill>
                  <a:round/>
                  <a:headEnd/>
                  <a:tailEnd/>
                </a:ln>
              </p:spPr>
              <p:txBody>
                <a:bodyPr/>
                <a:lstStyle/>
                <a:p>
                  <a:endParaRPr lang="en-US" sz="1600" b="1"/>
                </a:p>
              </p:txBody>
            </p:sp>
            <p:sp>
              <p:nvSpPr>
                <p:cNvPr id="46124" name="Line 183"/>
                <p:cNvSpPr>
                  <a:spLocks noChangeShapeType="1"/>
                </p:cNvSpPr>
                <p:nvPr/>
              </p:nvSpPr>
              <p:spPr bwMode="gray">
                <a:xfrm rot="21057859" flipV="1">
                  <a:off x="3755" y="1676"/>
                  <a:ext cx="95" cy="432"/>
                </a:xfrm>
                <a:prstGeom prst="line">
                  <a:avLst/>
                </a:prstGeom>
                <a:noFill/>
                <a:ln w="28575">
                  <a:solidFill>
                    <a:srgbClr val="000066"/>
                  </a:solidFill>
                  <a:round/>
                  <a:headEnd/>
                  <a:tailEnd type="triangle" w="sm" len="sm"/>
                </a:ln>
              </p:spPr>
              <p:txBody>
                <a:bodyPr/>
                <a:lstStyle/>
                <a:p>
                  <a:endParaRPr lang="en-US" sz="1600" b="1"/>
                </a:p>
              </p:txBody>
            </p:sp>
          </p:grpSp>
          <p:grpSp>
            <p:nvGrpSpPr>
              <p:cNvPr id="17" name="Group 184"/>
              <p:cNvGrpSpPr>
                <a:grpSpLocks/>
              </p:cNvGrpSpPr>
              <p:nvPr/>
            </p:nvGrpSpPr>
            <p:grpSpPr bwMode="auto">
              <a:xfrm>
                <a:off x="2712" y="2514"/>
                <a:ext cx="1080" cy="816"/>
                <a:chOff x="2712" y="2514"/>
                <a:chExt cx="1080" cy="816"/>
              </a:xfrm>
            </p:grpSpPr>
            <p:sp>
              <p:nvSpPr>
                <p:cNvPr id="46114" name="Line 185"/>
                <p:cNvSpPr>
                  <a:spLocks noChangeShapeType="1"/>
                </p:cNvSpPr>
                <p:nvPr/>
              </p:nvSpPr>
              <p:spPr bwMode="gray">
                <a:xfrm>
                  <a:off x="3792" y="2514"/>
                  <a:ext cx="0" cy="132"/>
                </a:xfrm>
                <a:prstGeom prst="line">
                  <a:avLst/>
                </a:prstGeom>
                <a:noFill/>
                <a:ln w="25400">
                  <a:solidFill>
                    <a:srgbClr val="000066"/>
                  </a:solidFill>
                  <a:round/>
                  <a:headEnd/>
                  <a:tailEnd/>
                </a:ln>
              </p:spPr>
              <p:txBody>
                <a:bodyPr/>
                <a:lstStyle/>
                <a:p>
                  <a:endParaRPr lang="en-US" sz="1600" b="1"/>
                </a:p>
              </p:txBody>
            </p:sp>
            <p:sp>
              <p:nvSpPr>
                <p:cNvPr id="46115" name="Line 186"/>
                <p:cNvSpPr>
                  <a:spLocks noChangeShapeType="1"/>
                </p:cNvSpPr>
                <p:nvPr/>
              </p:nvSpPr>
              <p:spPr bwMode="gray">
                <a:xfrm>
                  <a:off x="2712" y="2514"/>
                  <a:ext cx="0" cy="132"/>
                </a:xfrm>
                <a:prstGeom prst="line">
                  <a:avLst/>
                </a:prstGeom>
                <a:noFill/>
                <a:ln w="25400">
                  <a:solidFill>
                    <a:srgbClr val="000066"/>
                  </a:solidFill>
                  <a:round/>
                  <a:headEnd/>
                  <a:tailEnd/>
                </a:ln>
              </p:spPr>
              <p:txBody>
                <a:bodyPr/>
                <a:lstStyle/>
                <a:p>
                  <a:endParaRPr lang="en-US" sz="1600" b="1"/>
                </a:p>
              </p:txBody>
            </p:sp>
            <p:grpSp>
              <p:nvGrpSpPr>
                <p:cNvPr id="18" name="Group 187"/>
                <p:cNvGrpSpPr>
                  <a:grpSpLocks/>
                </p:cNvGrpSpPr>
                <p:nvPr/>
              </p:nvGrpSpPr>
              <p:grpSpPr bwMode="auto">
                <a:xfrm>
                  <a:off x="2957" y="2706"/>
                  <a:ext cx="464" cy="624"/>
                  <a:chOff x="2957" y="2706"/>
                  <a:chExt cx="464" cy="624"/>
                </a:xfrm>
              </p:grpSpPr>
              <p:sp>
                <p:nvSpPr>
                  <p:cNvPr id="46117" name="Line 188"/>
                  <p:cNvSpPr>
                    <a:spLocks noChangeShapeType="1"/>
                  </p:cNvSpPr>
                  <p:nvPr/>
                </p:nvSpPr>
                <p:spPr bwMode="auto">
                  <a:xfrm>
                    <a:off x="2957" y="2706"/>
                    <a:ext cx="464" cy="0"/>
                  </a:xfrm>
                  <a:prstGeom prst="line">
                    <a:avLst/>
                  </a:prstGeom>
                  <a:noFill/>
                  <a:ln w="25400">
                    <a:solidFill>
                      <a:srgbClr val="000066"/>
                    </a:solidFill>
                    <a:round/>
                    <a:headEnd/>
                    <a:tailEnd type="arrow" w="sm" len="sm"/>
                  </a:ln>
                </p:spPr>
                <p:txBody>
                  <a:bodyPr/>
                  <a:lstStyle/>
                  <a:p>
                    <a:endParaRPr lang="en-US" sz="1600" b="1"/>
                  </a:p>
                </p:txBody>
              </p:sp>
              <p:sp>
                <p:nvSpPr>
                  <p:cNvPr id="46118" name="Line 189"/>
                  <p:cNvSpPr>
                    <a:spLocks noChangeShapeType="1"/>
                  </p:cNvSpPr>
                  <p:nvPr/>
                </p:nvSpPr>
                <p:spPr bwMode="gray">
                  <a:xfrm>
                    <a:off x="3168" y="2796"/>
                    <a:ext cx="0" cy="534"/>
                  </a:xfrm>
                  <a:prstGeom prst="line">
                    <a:avLst/>
                  </a:prstGeom>
                  <a:noFill/>
                  <a:ln w="25400">
                    <a:solidFill>
                      <a:schemeClr val="tx1"/>
                    </a:solidFill>
                    <a:round/>
                    <a:headEnd/>
                    <a:tailEnd/>
                  </a:ln>
                </p:spPr>
                <p:txBody>
                  <a:bodyPr/>
                  <a:lstStyle/>
                  <a:p>
                    <a:endParaRPr lang="en-US" sz="1600" b="1"/>
                  </a:p>
                </p:txBody>
              </p:sp>
              <p:sp>
                <p:nvSpPr>
                  <p:cNvPr id="46119" name="Line 190"/>
                  <p:cNvSpPr>
                    <a:spLocks noChangeShapeType="1"/>
                  </p:cNvSpPr>
                  <p:nvPr/>
                </p:nvSpPr>
                <p:spPr bwMode="gray">
                  <a:xfrm rot="5400000">
                    <a:off x="3067" y="3220"/>
                    <a:ext cx="0" cy="219"/>
                  </a:xfrm>
                  <a:prstGeom prst="line">
                    <a:avLst/>
                  </a:prstGeom>
                  <a:noFill/>
                  <a:ln w="25400">
                    <a:solidFill>
                      <a:srgbClr val="000066"/>
                    </a:solidFill>
                    <a:round/>
                    <a:headEnd/>
                    <a:tailEnd/>
                  </a:ln>
                </p:spPr>
                <p:txBody>
                  <a:bodyPr/>
                  <a:lstStyle/>
                  <a:p>
                    <a:endParaRPr lang="en-US" sz="1600" b="1"/>
                  </a:p>
                </p:txBody>
              </p:sp>
              <p:sp>
                <p:nvSpPr>
                  <p:cNvPr id="46120" name="Line 191"/>
                  <p:cNvSpPr>
                    <a:spLocks noChangeShapeType="1"/>
                  </p:cNvSpPr>
                  <p:nvPr/>
                </p:nvSpPr>
                <p:spPr bwMode="gray">
                  <a:xfrm rot="5400000">
                    <a:off x="3067" y="2992"/>
                    <a:ext cx="0" cy="219"/>
                  </a:xfrm>
                  <a:prstGeom prst="line">
                    <a:avLst/>
                  </a:prstGeom>
                  <a:noFill/>
                  <a:ln w="25400">
                    <a:solidFill>
                      <a:srgbClr val="000066"/>
                    </a:solidFill>
                    <a:round/>
                    <a:headEnd/>
                    <a:tailEnd/>
                  </a:ln>
                </p:spPr>
                <p:txBody>
                  <a:bodyPr/>
                  <a:lstStyle/>
                  <a:p>
                    <a:endParaRPr lang="en-US" sz="1600" b="1"/>
                  </a:p>
                </p:txBody>
              </p:sp>
              <p:sp>
                <p:nvSpPr>
                  <p:cNvPr id="46121" name="Line 192"/>
                  <p:cNvSpPr>
                    <a:spLocks noChangeShapeType="1"/>
                  </p:cNvSpPr>
                  <p:nvPr/>
                </p:nvSpPr>
                <p:spPr bwMode="gray">
                  <a:xfrm rot="5400000">
                    <a:off x="3067" y="2686"/>
                    <a:ext cx="0" cy="219"/>
                  </a:xfrm>
                  <a:prstGeom prst="line">
                    <a:avLst/>
                  </a:prstGeom>
                  <a:noFill/>
                  <a:ln w="25400">
                    <a:solidFill>
                      <a:srgbClr val="000066"/>
                    </a:solidFill>
                    <a:round/>
                    <a:headEnd type="none" w="sm" len="sm"/>
                    <a:tailEnd type="arrow" w="sm" len="sm"/>
                  </a:ln>
                </p:spPr>
                <p:txBody>
                  <a:bodyPr/>
                  <a:lstStyle/>
                  <a:p>
                    <a:endParaRPr lang="en-US" sz="1600" b="1"/>
                  </a:p>
                </p:txBody>
              </p:sp>
            </p:grpSp>
          </p:grpSp>
        </p:grpSp>
      </p:grpSp>
    </p:spTree>
    <p:extLst>
      <p:ext uri="{BB962C8B-B14F-4D97-AF65-F5344CB8AC3E}">
        <p14:creationId xmlns:p14="http://schemas.microsoft.com/office/powerpoint/2010/main" val="4033728249"/>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9" presetClass="entr" presetSubtype="0" fill="hold"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dissolve">
                                      <p:cBhvr>
                                        <p:cTn id="7"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Rectangle 19"/>
          <p:cNvSpPr/>
          <p:nvPr/>
        </p:nvSpPr>
        <p:spPr>
          <a:xfrm>
            <a:off x="179512" y="83687"/>
            <a:ext cx="7224712" cy="436562"/>
          </a:xfrm>
          <a:prstGeom prst="rect">
            <a:avLst/>
          </a:prstGeom>
          <a:noFill/>
          <a:ln>
            <a:noFill/>
          </a:ln>
          <a:effectLst/>
          <a:extLst>
            <a:ext uri="{AF507438-7753-43E0-B8FC-AC1667EBCBE1}">
              <a14:hiddenEffects xmlns:a14="http://schemas.microsoft.com/office/drawing/2010/main">
                <a:effectLst>
                  <a:outerShdw dist="35921" dir="2700000" algn="ctr" rotWithShape="0">
                    <a:schemeClr val="bg2"/>
                  </a:outerShdw>
                </a:effectLst>
              </a14:hiddenEffects>
            </a:ext>
          </a:extLst>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auto">
              <a:spcBef>
                <a:spcPts val="0"/>
              </a:spcBef>
              <a:spcAft>
                <a:spcPts val="0"/>
              </a:spcAft>
              <a:defRPr/>
            </a:pPr>
            <a:r>
              <a:rPr lang="en-US" sz="2500" dirty="0">
                <a:latin typeface="Cambria" pitchFamily="18" charset="0"/>
              </a:rPr>
              <a:t> </a:t>
            </a:r>
            <a:endParaRPr lang="en-US" sz="2500" dirty="0" smtClean="0">
              <a:latin typeface="Cambria" pitchFamily="18" charset="0"/>
            </a:endParaRPr>
          </a:p>
          <a:p>
            <a:pPr algn="ctr" fontAlgn="auto">
              <a:spcBef>
                <a:spcPts val="0"/>
              </a:spcBef>
              <a:spcAft>
                <a:spcPts val="0"/>
              </a:spcAft>
              <a:defRPr/>
            </a:pPr>
            <a:r>
              <a:rPr lang="en-US" sz="2500" b="1" dirty="0" smtClean="0">
                <a:latin typeface="Cambria" pitchFamily="18" charset="0"/>
              </a:rPr>
              <a:t>KOMTRAX : </a:t>
            </a:r>
            <a:r>
              <a:rPr lang="en-US" sz="2500" b="1" dirty="0" smtClean="0">
                <a:solidFill>
                  <a:schemeClr val="bg1"/>
                </a:solidFill>
                <a:latin typeface="Cambria" pitchFamily="18" charset="0"/>
              </a:rPr>
              <a:t>Machine </a:t>
            </a:r>
            <a:r>
              <a:rPr lang="en-US" sz="2500" b="1" dirty="0">
                <a:solidFill>
                  <a:schemeClr val="bg1"/>
                </a:solidFill>
                <a:latin typeface="Cambria" pitchFamily="18" charset="0"/>
              </a:rPr>
              <a:t>Tracking System</a:t>
            </a:r>
          </a:p>
          <a:p>
            <a:pPr fontAlgn="auto">
              <a:spcBef>
                <a:spcPts val="0"/>
              </a:spcBef>
              <a:spcAft>
                <a:spcPts val="0"/>
              </a:spcAft>
              <a:defRPr/>
            </a:pPr>
            <a:r>
              <a:rPr lang="en-US" sz="2400" dirty="0" smtClean="0">
                <a:latin typeface="Candara" pitchFamily="34" charset="0"/>
              </a:rPr>
              <a:t> </a:t>
            </a:r>
            <a:endParaRPr lang="en-US" sz="2400" dirty="0">
              <a:latin typeface="Candara" pitchFamily="34" charset="0"/>
            </a:endParaRPr>
          </a:p>
        </p:txBody>
      </p:sp>
      <p:pic>
        <p:nvPicPr>
          <p:cNvPr id="24583" name="Picture 12"/>
          <p:cNvPicPr>
            <a:picLocks noChangeAspect="1" noChangeArrowheads="1"/>
          </p:cNvPicPr>
          <p:nvPr/>
        </p:nvPicPr>
        <p:blipFill>
          <a:blip r:embed="rId3" cstate="print">
            <a:extLst>
              <a:ext uri="{28A0092B-C50C-407E-A947-70E740481C1C}">
                <a14:useLocalDpi xmlns:a14="http://schemas.microsoft.com/office/drawing/2010/main"/>
              </a:ext>
            </a:extLst>
          </a:blip>
          <a:srcRect/>
          <a:stretch>
            <a:fillRect/>
          </a:stretch>
        </p:blipFill>
        <p:spPr bwMode="auto">
          <a:xfrm>
            <a:off x="304800" y="1233714"/>
            <a:ext cx="2923376" cy="2667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sp>
        <p:nvSpPr>
          <p:cNvPr id="8" name="Rectangle 7"/>
          <p:cNvSpPr/>
          <p:nvPr/>
        </p:nvSpPr>
        <p:spPr>
          <a:xfrm>
            <a:off x="3523343" y="1257300"/>
            <a:ext cx="5014912" cy="5334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auto">
              <a:spcBef>
                <a:spcPts val="0"/>
              </a:spcBef>
              <a:spcAft>
                <a:spcPts val="0"/>
              </a:spcAft>
              <a:defRPr/>
            </a:pPr>
            <a:r>
              <a:rPr lang="en-US" sz="2500" dirty="0">
                <a:latin typeface="Cambria" pitchFamily="18" charset="0"/>
              </a:rPr>
              <a:t> </a:t>
            </a:r>
            <a:endParaRPr lang="en-US" sz="2500" dirty="0" smtClean="0">
              <a:latin typeface="Cambria" pitchFamily="18" charset="0"/>
            </a:endParaRPr>
          </a:p>
          <a:p>
            <a:pPr algn="ctr" fontAlgn="auto">
              <a:spcBef>
                <a:spcPts val="0"/>
              </a:spcBef>
              <a:spcAft>
                <a:spcPts val="0"/>
              </a:spcAft>
              <a:defRPr/>
            </a:pPr>
            <a:r>
              <a:rPr lang="en-US" sz="2500" b="1" dirty="0" smtClean="0">
                <a:latin typeface="Cambria" pitchFamily="18" charset="0"/>
              </a:rPr>
              <a:t>Full Machine Monitoring </a:t>
            </a:r>
            <a:endParaRPr lang="en-US" sz="2500" b="1" dirty="0">
              <a:solidFill>
                <a:schemeClr val="bg1"/>
              </a:solidFill>
              <a:latin typeface="Cambria" pitchFamily="18" charset="0"/>
            </a:endParaRPr>
          </a:p>
          <a:p>
            <a:pPr fontAlgn="auto">
              <a:spcBef>
                <a:spcPts val="0"/>
              </a:spcBef>
              <a:spcAft>
                <a:spcPts val="0"/>
              </a:spcAft>
              <a:defRPr/>
            </a:pPr>
            <a:r>
              <a:rPr lang="en-US" sz="2400" dirty="0" smtClean="0">
                <a:latin typeface="Candara" pitchFamily="34" charset="0"/>
              </a:rPr>
              <a:t> </a:t>
            </a:r>
            <a:endParaRPr lang="en-US" sz="2400" dirty="0">
              <a:latin typeface="Candara" pitchFamily="34" charset="0"/>
            </a:endParaRPr>
          </a:p>
        </p:txBody>
      </p:sp>
      <p:sp>
        <p:nvSpPr>
          <p:cNvPr id="12" name="Rectangle 11"/>
          <p:cNvSpPr/>
          <p:nvPr/>
        </p:nvSpPr>
        <p:spPr>
          <a:xfrm>
            <a:off x="3523343" y="1828800"/>
            <a:ext cx="5014912" cy="5334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auto">
              <a:spcBef>
                <a:spcPts val="0"/>
              </a:spcBef>
              <a:spcAft>
                <a:spcPts val="0"/>
              </a:spcAft>
              <a:defRPr/>
            </a:pPr>
            <a:r>
              <a:rPr lang="en-US" sz="2500" dirty="0">
                <a:latin typeface="Cambria" pitchFamily="18" charset="0"/>
              </a:rPr>
              <a:t> </a:t>
            </a:r>
            <a:endParaRPr lang="en-US" sz="2500" dirty="0" smtClean="0">
              <a:latin typeface="Cambria" pitchFamily="18" charset="0"/>
            </a:endParaRPr>
          </a:p>
          <a:p>
            <a:pPr algn="ctr" fontAlgn="auto">
              <a:spcBef>
                <a:spcPts val="0"/>
              </a:spcBef>
              <a:spcAft>
                <a:spcPts val="0"/>
              </a:spcAft>
              <a:defRPr/>
            </a:pPr>
            <a:r>
              <a:rPr lang="en-US" sz="2500" b="1" dirty="0" smtClean="0">
                <a:latin typeface="Cambria" pitchFamily="18" charset="0"/>
              </a:rPr>
              <a:t>Complete Machine Status </a:t>
            </a:r>
            <a:endParaRPr lang="en-US" sz="2500" b="1" dirty="0">
              <a:solidFill>
                <a:schemeClr val="bg1"/>
              </a:solidFill>
              <a:latin typeface="Cambria" pitchFamily="18" charset="0"/>
            </a:endParaRPr>
          </a:p>
          <a:p>
            <a:pPr fontAlgn="auto">
              <a:spcBef>
                <a:spcPts val="0"/>
              </a:spcBef>
              <a:spcAft>
                <a:spcPts val="0"/>
              </a:spcAft>
              <a:defRPr/>
            </a:pPr>
            <a:r>
              <a:rPr lang="en-US" sz="2400" dirty="0" smtClean="0">
                <a:latin typeface="Candara" pitchFamily="34" charset="0"/>
              </a:rPr>
              <a:t> </a:t>
            </a:r>
            <a:endParaRPr lang="en-US" sz="2400" dirty="0">
              <a:latin typeface="Candara" pitchFamily="34" charset="0"/>
            </a:endParaRPr>
          </a:p>
        </p:txBody>
      </p:sp>
      <p:sp>
        <p:nvSpPr>
          <p:cNvPr id="13" name="Rectangle 12"/>
          <p:cNvSpPr/>
          <p:nvPr/>
        </p:nvSpPr>
        <p:spPr>
          <a:xfrm>
            <a:off x="3526972" y="2438400"/>
            <a:ext cx="5011282" cy="5334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auto">
              <a:spcBef>
                <a:spcPts val="0"/>
              </a:spcBef>
              <a:spcAft>
                <a:spcPts val="0"/>
              </a:spcAft>
              <a:defRPr/>
            </a:pPr>
            <a:r>
              <a:rPr lang="en-US" sz="2500" dirty="0">
                <a:latin typeface="Cambria" pitchFamily="18" charset="0"/>
              </a:rPr>
              <a:t> </a:t>
            </a:r>
            <a:endParaRPr lang="en-US" sz="2500" dirty="0" smtClean="0">
              <a:latin typeface="Cambria" pitchFamily="18" charset="0"/>
            </a:endParaRPr>
          </a:p>
          <a:p>
            <a:pPr algn="ctr" fontAlgn="auto">
              <a:spcBef>
                <a:spcPts val="0"/>
              </a:spcBef>
              <a:spcAft>
                <a:spcPts val="0"/>
              </a:spcAft>
              <a:defRPr/>
            </a:pPr>
            <a:r>
              <a:rPr lang="en-US" sz="2500" b="1" dirty="0" smtClean="0">
                <a:latin typeface="Cambria" pitchFamily="18" charset="0"/>
              </a:rPr>
              <a:t>Total Fleet Management</a:t>
            </a:r>
            <a:endParaRPr lang="en-US" sz="2500" b="1" dirty="0">
              <a:solidFill>
                <a:schemeClr val="bg1"/>
              </a:solidFill>
              <a:latin typeface="Cambria" pitchFamily="18" charset="0"/>
            </a:endParaRPr>
          </a:p>
          <a:p>
            <a:pPr fontAlgn="auto">
              <a:spcBef>
                <a:spcPts val="0"/>
              </a:spcBef>
              <a:spcAft>
                <a:spcPts val="0"/>
              </a:spcAft>
              <a:defRPr/>
            </a:pPr>
            <a:r>
              <a:rPr lang="en-US" sz="2400" dirty="0" smtClean="0">
                <a:latin typeface="Candara" pitchFamily="34" charset="0"/>
              </a:rPr>
              <a:t> </a:t>
            </a:r>
            <a:endParaRPr lang="en-US" sz="2400" dirty="0">
              <a:latin typeface="Candara" pitchFamily="34" charset="0"/>
            </a:endParaRPr>
          </a:p>
        </p:txBody>
      </p:sp>
      <p:sp>
        <p:nvSpPr>
          <p:cNvPr id="14" name="TextBox 13"/>
          <p:cNvSpPr txBox="1"/>
          <p:nvPr/>
        </p:nvSpPr>
        <p:spPr>
          <a:xfrm>
            <a:off x="5664521" y="5895254"/>
            <a:ext cx="3479479" cy="707886"/>
          </a:xfrm>
          <a:prstGeom prst="rect">
            <a:avLst/>
          </a:prstGeom>
          <a:noFill/>
        </p:spPr>
        <p:txBody>
          <a:bodyPr wrap="none" rtlCol="0">
            <a:spAutoFit/>
          </a:bodyPr>
          <a:lstStyle/>
          <a:p>
            <a:r>
              <a:rPr lang="en-US" sz="4000" b="1" dirty="0" smtClean="0">
                <a:solidFill>
                  <a:schemeClr val="tx2">
                    <a:lumMod val="75000"/>
                  </a:schemeClr>
                </a:solidFill>
                <a:latin typeface="Cambria" pitchFamily="18" charset="0"/>
              </a:rPr>
              <a:t>IMAGINATION</a:t>
            </a:r>
            <a:endParaRPr lang="en-IN" sz="4000" b="1" dirty="0">
              <a:solidFill>
                <a:schemeClr val="tx2">
                  <a:lumMod val="75000"/>
                </a:schemeClr>
              </a:solidFill>
              <a:latin typeface="Cambria" pitchFamily="18" charset="0"/>
            </a:endParaRPr>
          </a:p>
        </p:txBody>
      </p:sp>
      <p:sp>
        <p:nvSpPr>
          <p:cNvPr id="15" name="TextBox 14"/>
          <p:cNvSpPr txBox="1"/>
          <p:nvPr/>
        </p:nvSpPr>
        <p:spPr>
          <a:xfrm>
            <a:off x="293325" y="6023612"/>
            <a:ext cx="649443" cy="523220"/>
          </a:xfrm>
          <a:prstGeom prst="rect">
            <a:avLst/>
          </a:prstGeom>
          <a:noFill/>
        </p:spPr>
        <p:txBody>
          <a:bodyPr wrap="square" rtlCol="0">
            <a:spAutoFit/>
          </a:bodyPr>
          <a:lstStyle/>
          <a:p>
            <a:r>
              <a:rPr lang="en-US" sz="2800" dirty="0" smtClean="0">
                <a:latin typeface="Cambria" pitchFamily="18" charset="0"/>
              </a:rPr>
              <a:t>AN</a:t>
            </a:r>
            <a:endParaRPr lang="en-IN" sz="2800" dirty="0">
              <a:latin typeface="Cambria" pitchFamily="18" charset="0"/>
            </a:endParaRPr>
          </a:p>
        </p:txBody>
      </p:sp>
      <p:sp>
        <p:nvSpPr>
          <p:cNvPr id="16" name="TextBox 15"/>
          <p:cNvSpPr txBox="1"/>
          <p:nvPr/>
        </p:nvSpPr>
        <p:spPr>
          <a:xfrm>
            <a:off x="883799" y="5859959"/>
            <a:ext cx="3459601" cy="769441"/>
          </a:xfrm>
          <a:prstGeom prst="rect">
            <a:avLst/>
          </a:prstGeom>
          <a:noFill/>
        </p:spPr>
        <p:txBody>
          <a:bodyPr wrap="none" rtlCol="0">
            <a:spAutoFit/>
          </a:bodyPr>
          <a:lstStyle/>
          <a:p>
            <a:r>
              <a:rPr lang="en-US" sz="4400" b="1" dirty="0" smtClean="0">
                <a:solidFill>
                  <a:srgbClr val="C00000"/>
                </a:solidFill>
                <a:latin typeface="Cambria" pitchFamily="18" charset="0"/>
              </a:rPr>
              <a:t>EXPERIENCE</a:t>
            </a:r>
            <a:endParaRPr lang="en-IN" sz="4400" b="1" dirty="0">
              <a:solidFill>
                <a:srgbClr val="C00000"/>
              </a:solidFill>
              <a:latin typeface="Cambria" pitchFamily="18" charset="0"/>
            </a:endParaRPr>
          </a:p>
        </p:txBody>
      </p:sp>
      <p:sp>
        <p:nvSpPr>
          <p:cNvPr id="17" name="TextBox 16"/>
          <p:cNvSpPr txBox="1"/>
          <p:nvPr/>
        </p:nvSpPr>
        <p:spPr>
          <a:xfrm>
            <a:off x="4252411" y="6023612"/>
            <a:ext cx="1517018" cy="523220"/>
          </a:xfrm>
          <a:prstGeom prst="rect">
            <a:avLst/>
          </a:prstGeom>
          <a:noFill/>
        </p:spPr>
        <p:txBody>
          <a:bodyPr wrap="none" rtlCol="0">
            <a:spAutoFit/>
          </a:bodyPr>
          <a:lstStyle/>
          <a:p>
            <a:r>
              <a:rPr lang="en-US" sz="2800" dirty="0" smtClean="0">
                <a:latin typeface="Cambria" pitchFamily="18" charset="0"/>
              </a:rPr>
              <a:t>BEYOND</a:t>
            </a:r>
            <a:endParaRPr lang="en-IN" sz="2800" dirty="0">
              <a:latin typeface="Cambria" pitchFamily="18" charset="0"/>
            </a:endParaRPr>
          </a:p>
        </p:txBody>
      </p:sp>
      <p:sp>
        <p:nvSpPr>
          <p:cNvPr id="19" name="Rectangle 18"/>
          <p:cNvSpPr/>
          <p:nvPr/>
        </p:nvSpPr>
        <p:spPr>
          <a:xfrm>
            <a:off x="3526971" y="3048000"/>
            <a:ext cx="5011283" cy="5334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auto">
              <a:spcBef>
                <a:spcPts val="0"/>
              </a:spcBef>
              <a:spcAft>
                <a:spcPts val="0"/>
              </a:spcAft>
              <a:defRPr/>
            </a:pPr>
            <a:r>
              <a:rPr lang="en-US" sz="2500" dirty="0" smtClean="0">
                <a:latin typeface="Cambria" pitchFamily="18" charset="0"/>
              </a:rPr>
              <a:t> </a:t>
            </a:r>
          </a:p>
          <a:p>
            <a:pPr algn="ctr" fontAlgn="auto">
              <a:spcBef>
                <a:spcPts val="0"/>
              </a:spcBef>
              <a:spcAft>
                <a:spcPts val="0"/>
              </a:spcAft>
              <a:defRPr/>
            </a:pPr>
            <a:r>
              <a:rPr lang="en-US" sz="2500" b="1" dirty="0" smtClean="0">
                <a:latin typeface="Cambria" pitchFamily="18" charset="0"/>
              </a:rPr>
              <a:t>KOMTRAX Reports</a:t>
            </a:r>
            <a:endParaRPr lang="en-US" sz="2500" b="1" dirty="0" smtClean="0">
              <a:solidFill>
                <a:schemeClr val="bg1"/>
              </a:solidFill>
              <a:latin typeface="Cambria" pitchFamily="18" charset="0"/>
            </a:endParaRPr>
          </a:p>
          <a:p>
            <a:pPr fontAlgn="auto">
              <a:spcBef>
                <a:spcPts val="0"/>
              </a:spcBef>
              <a:spcAft>
                <a:spcPts val="0"/>
              </a:spcAft>
              <a:defRPr/>
            </a:pPr>
            <a:r>
              <a:rPr lang="en-US" sz="2400" dirty="0" smtClean="0">
                <a:latin typeface="Candara" pitchFamily="34" charset="0"/>
              </a:rPr>
              <a:t> </a:t>
            </a:r>
            <a:endParaRPr lang="en-US" sz="2400" dirty="0">
              <a:latin typeface="Candara" pitchFamily="34" charset="0"/>
            </a:endParaRPr>
          </a:p>
        </p:txBody>
      </p:sp>
      <p:sp>
        <p:nvSpPr>
          <p:cNvPr id="21" name="Rectangle 20">
            <a:hlinkClick r:id="" action="ppaction://noaction"/>
          </p:cNvPr>
          <p:cNvSpPr/>
          <p:nvPr/>
        </p:nvSpPr>
        <p:spPr>
          <a:xfrm>
            <a:off x="278811" y="4038600"/>
            <a:ext cx="2949365" cy="1884975"/>
          </a:xfrm>
          <a:prstGeom prst="rect">
            <a:avLst/>
          </a:prstGeom>
          <a:blipFill dpi="0" rotWithShape="1">
            <a:blip r:embed="rId4"/>
            <a:srcRect/>
            <a:stretch>
              <a:fillRect/>
            </a:stretch>
          </a:blipFill>
          <a:ln w="6350">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latin typeface="+mj-lt"/>
            </a:endParaRPr>
          </a:p>
        </p:txBody>
      </p:sp>
      <p:pic>
        <p:nvPicPr>
          <p:cNvPr id="22" name="Picture 2"/>
          <p:cNvPicPr>
            <a:picLocks noChangeAspect="1" noChangeArrowheads="1"/>
          </p:cNvPicPr>
          <p:nvPr/>
        </p:nvPicPr>
        <p:blipFill>
          <a:blip r:embed="rId5">
            <a:extLst>
              <a:ext uri="{28A0092B-C50C-407E-A947-70E740481C1C}">
                <a14:useLocalDpi xmlns:a14="http://schemas.microsoft.com/office/drawing/2010/main" val="0"/>
              </a:ext>
            </a:extLst>
          </a:blip>
          <a:stretch>
            <a:fillRect/>
          </a:stretch>
        </p:blipFill>
        <p:spPr bwMode="auto">
          <a:xfrm>
            <a:off x="3523343" y="3844735"/>
            <a:ext cx="2801257" cy="2098865"/>
          </a:xfrm>
          <a:prstGeom prst="rect">
            <a:avLst/>
          </a:prstGeom>
          <a:noFill/>
          <a:ln w="6350">
            <a:solidFill>
              <a:schemeClr val="tx1"/>
            </a:solidFill>
          </a:ln>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pic>
        <p:nvPicPr>
          <p:cNvPr id="6146" name="Picture 2" descr="D:\Sales Conference'12\New folder (2)\1untitled.jpg"/>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477000" y="4114800"/>
            <a:ext cx="2491011" cy="1407963"/>
          </a:xfrm>
          <a:prstGeom prst="rect">
            <a:avLst/>
          </a:prstGeom>
          <a:noFill/>
          <a:ln w="6350">
            <a:solidFill>
              <a:schemeClr val="tx1"/>
            </a:solidFill>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89096356"/>
      </p:ext>
    </p:extLst>
  </p:cSld>
  <p:clrMapOvr>
    <a:masterClrMapping/>
  </p:clrMapOvr>
  <p:transition>
    <p:wipe dir="r"/>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95536" y="44624"/>
            <a:ext cx="3384376" cy="601662"/>
          </a:xfrm>
        </p:spPr>
        <p:txBody>
          <a:bodyPr/>
          <a:lstStyle/>
          <a:p>
            <a:r>
              <a:rPr lang="en-US" b="1" dirty="0" smtClean="0">
                <a:solidFill>
                  <a:schemeClr val="bg1"/>
                </a:solidFill>
              </a:rPr>
              <a:t>Trends</a:t>
            </a:r>
            <a:endParaRPr lang="en-IN" b="1" dirty="0">
              <a:solidFill>
                <a:schemeClr val="bg1"/>
              </a:solidFill>
            </a:endParaRPr>
          </a:p>
        </p:txBody>
      </p:sp>
      <p:sp>
        <p:nvSpPr>
          <p:cNvPr id="3" name="Content Placeholder 2"/>
          <p:cNvSpPr>
            <a:spLocks noGrp="1"/>
          </p:cNvSpPr>
          <p:nvPr>
            <p:ph idx="1"/>
          </p:nvPr>
        </p:nvSpPr>
        <p:spPr>
          <a:xfrm>
            <a:off x="457200" y="1674614"/>
            <a:ext cx="8377238" cy="2474466"/>
          </a:xfrm>
          <a:ln>
            <a:solidFill>
              <a:schemeClr val="tx2"/>
            </a:solidFill>
          </a:ln>
        </p:spPr>
        <p:txBody>
          <a:bodyPr/>
          <a:lstStyle/>
          <a:p>
            <a:r>
              <a:rPr lang="en-US" b="1" dirty="0" smtClean="0"/>
              <a:t>Mining Equipment Size</a:t>
            </a:r>
          </a:p>
          <a:p>
            <a:r>
              <a:rPr lang="en-US" b="1" dirty="0" smtClean="0"/>
              <a:t>Equipment Operating Systems</a:t>
            </a:r>
          </a:p>
          <a:p>
            <a:r>
              <a:rPr lang="en-US" b="1" dirty="0" smtClean="0"/>
              <a:t>Equipment Tracking Systems</a:t>
            </a:r>
          </a:p>
          <a:p>
            <a:r>
              <a:rPr lang="en-US" b="1" dirty="0" smtClean="0"/>
              <a:t>Equipment Management Systems.</a:t>
            </a:r>
          </a:p>
          <a:p>
            <a:r>
              <a:rPr lang="en-US" b="1" dirty="0" smtClean="0"/>
              <a:t>Safety Features.</a:t>
            </a:r>
            <a:endParaRPr lang="en-IN" b="1" dirty="0"/>
          </a:p>
        </p:txBody>
      </p:sp>
    </p:spTree>
    <p:extLst>
      <p:ext uri="{BB962C8B-B14F-4D97-AF65-F5344CB8AC3E}">
        <p14:creationId xmlns:p14="http://schemas.microsoft.com/office/powerpoint/2010/main" val="974247927"/>
      </p:ext>
    </p:extLst>
  </p:cSld>
  <p:clrMapOvr>
    <a:masterClrMapping/>
  </p:clrMapOvr>
  <p:transition spd="slow">
    <p:wipe/>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p>
            <a:pPr>
              <a:defRPr/>
            </a:pPr>
            <a:r>
              <a:rPr lang="en-US" smtClean="0"/>
              <a:t>Page </a:t>
            </a:r>
            <a:fld id="{193AA450-93B1-4DA6-9A40-3EE20371E9F8}" type="slidenum">
              <a:rPr lang="en-US" smtClean="0"/>
              <a:pPr>
                <a:defRPr/>
              </a:pPr>
              <a:t>20</a:t>
            </a:fld>
            <a:endParaRPr lang="en-US" dirty="0"/>
          </a:p>
        </p:txBody>
      </p:sp>
      <p:pic>
        <p:nvPicPr>
          <p:cNvPr id="5" name="Picture 2"/>
          <p:cNvPicPr>
            <a:picLocks noChangeAspect="1" noChangeArrowheads="1"/>
          </p:cNvPicPr>
          <p:nvPr/>
        </p:nvPicPr>
        <p:blipFill rotWithShape="1">
          <a:blip r:embed="rId2">
            <a:extLst>
              <a:ext uri="{28A0092B-C50C-407E-A947-70E740481C1C}">
                <a14:useLocalDpi xmlns:a14="http://schemas.microsoft.com/office/drawing/2010/main" val="0"/>
              </a:ext>
            </a:extLst>
          </a:blip>
          <a:srcRect t="11189"/>
          <a:stretch/>
        </p:blipFill>
        <p:spPr bwMode="auto">
          <a:xfrm>
            <a:off x="177800" y="3657600"/>
            <a:ext cx="4318000" cy="2819400"/>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9" name="Picture 8"/>
          <p:cNvPicPr/>
          <p:nvPr/>
        </p:nvPicPr>
        <p:blipFill rotWithShape="1">
          <a:blip r:embed="rId3"/>
          <a:srcRect l="17101" t="5577" r="19331" b="37818"/>
          <a:stretch/>
        </p:blipFill>
        <p:spPr bwMode="auto">
          <a:xfrm>
            <a:off x="152400" y="534036"/>
            <a:ext cx="4343400" cy="2894964"/>
          </a:xfrm>
          <a:prstGeom prst="rect">
            <a:avLst/>
          </a:prstGeom>
          <a:ln w="6350">
            <a:solidFill>
              <a:schemeClr val="tx1"/>
            </a:solidFill>
          </a:ln>
          <a:extLst>
            <a:ext uri="{53640926-AAD7-44D8-BBD7-CCE9431645EC}">
              <a14:shadowObscured xmlns:a14="http://schemas.microsoft.com/office/drawing/2010/main"/>
            </a:ext>
          </a:extLst>
        </p:spPr>
      </p:pic>
      <p:pic>
        <p:nvPicPr>
          <p:cNvPr id="10" name="Picture 9"/>
          <p:cNvPicPr/>
          <p:nvPr/>
        </p:nvPicPr>
        <p:blipFill rotWithShape="1">
          <a:blip r:embed="rId4"/>
          <a:srcRect l="17448" t="5337" r="7564" b="19257"/>
          <a:stretch/>
        </p:blipFill>
        <p:spPr bwMode="auto">
          <a:xfrm>
            <a:off x="4800600" y="533400"/>
            <a:ext cx="4191000" cy="2895600"/>
          </a:xfrm>
          <a:prstGeom prst="rect">
            <a:avLst/>
          </a:prstGeom>
          <a:ln w="6350">
            <a:solidFill>
              <a:schemeClr val="tx1"/>
            </a:solidFill>
          </a:ln>
          <a:extLst>
            <a:ext uri="{53640926-AAD7-44D8-BBD7-CCE9431645EC}">
              <a14:shadowObscured xmlns:a14="http://schemas.microsoft.com/office/drawing/2010/main"/>
            </a:ext>
          </a:extLst>
        </p:spPr>
      </p:pic>
      <p:pic>
        <p:nvPicPr>
          <p:cNvPr id="11" name="Picture 10"/>
          <p:cNvPicPr/>
          <p:nvPr/>
        </p:nvPicPr>
        <p:blipFill rotWithShape="1">
          <a:blip r:embed="rId5"/>
          <a:srcRect l="17844" t="5801" r="14612" b="52565"/>
          <a:stretch/>
        </p:blipFill>
        <p:spPr bwMode="auto">
          <a:xfrm>
            <a:off x="4800600" y="3657601"/>
            <a:ext cx="4191000" cy="2819400"/>
          </a:xfrm>
          <a:prstGeom prst="rect">
            <a:avLst/>
          </a:prstGeom>
          <a:ln w="6350">
            <a:solidFill>
              <a:schemeClr val="tx1"/>
            </a:solidFill>
          </a:ln>
          <a:extLst>
            <a:ext uri="{53640926-AAD7-44D8-BBD7-CCE9431645EC}">
              <a14:shadowObscured xmlns:a14="http://schemas.microsoft.com/office/drawing/2010/main"/>
            </a:ext>
          </a:extLst>
        </p:spPr>
      </p:pic>
      <p:sp>
        <p:nvSpPr>
          <p:cNvPr id="7" name="Rectangle 6"/>
          <p:cNvSpPr/>
          <p:nvPr/>
        </p:nvSpPr>
        <p:spPr>
          <a:xfrm>
            <a:off x="179512" y="44624"/>
            <a:ext cx="7224712" cy="436562"/>
          </a:xfrm>
          <a:prstGeom prst="rect">
            <a:avLst/>
          </a:prstGeom>
          <a:noFill/>
          <a:ln>
            <a:noFill/>
          </a:ln>
          <a:effectLst/>
          <a:extLst>
            <a:ext uri="{AF507438-7753-43E0-B8FC-AC1667EBCBE1}">
              <a14:hiddenEffects xmlns:a14="http://schemas.microsoft.com/office/drawing/2010/main">
                <a:effectLst>
                  <a:outerShdw dist="35921" dir="2700000" algn="ctr" rotWithShape="0">
                    <a:schemeClr val="bg2"/>
                  </a:outerShdw>
                </a:effectLst>
              </a14:hiddenEffects>
            </a:ext>
          </a:extLst>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auto">
              <a:spcBef>
                <a:spcPts val="0"/>
              </a:spcBef>
              <a:spcAft>
                <a:spcPts val="0"/>
              </a:spcAft>
              <a:defRPr/>
            </a:pPr>
            <a:r>
              <a:rPr lang="en-US" sz="2500" dirty="0">
                <a:latin typeface="Cambria" pitchFamily="18" charset="0"/>
              </a:rPr>
              <a:t> </a:t>
            </a:r>
            <a:endParaRPr lang="en-US" sz="2500" dirty="0" smtClean="0">
              <a:latin typeface="Cambria" pitchFamily="18" charset="0"/>
            </a:endParaRPr>
          </a:p>
          <a:p>
            <a:pPr algn="ctr" fontAlgn="auto">
              <a:spcBef>
                <a:spcPts val="0"/>
              </a:spcBef>
              <a:spcAft>
                <a:spcPts val="0"/>
              </a:spcAft>
              <a:defRPr/>
            </a:pPr>
            <a:r>
              <a:rPr lang="en-US" sz="2500" b="1" dirty="0" smtClean="0">
                <a:latin typeface="Cambria" pitchFamily="18" charset="0"/>
              </a:rPr>
              <a:t>KOMTRAX : </a:t>
            </a:r>
            <a:r>
              <a:rPr lang="en-US" sz="2500" b="1" dirty="0" smtClean="0">
                <a:solidFill>
                  <a:schemeClr val="bg1"/>
                </a:solidFill>
                <a:latin typeface="Cambria" pitchFamily="18" charset="0"/>
              </a:rPr>
              <a:t>Machine </a:t>
            </a:r>
            <a:r>
              <a:rPr lang="en-US" sz="2500" b="1" dirty="0">
                <a:solidFill>
                  <a:schemeClr val="bg1"/>
                </a:solidFill>
                <a:latin typeface="Cambria" pitchFamily="18" charset="0"/>
              </a:rPr>
              <a:t>Tracking System</a:t>
            </a:r>
          </a:p>
          <a:p>
            <a:pPr fontAlgn="auto">
              <a:spcBef>
                <a:spcPts val="0"/>
              </a:spcBef>
              <a:spcAft>
                <a:spcPts val="0"/>
              </a:spcAft>
              <a:defRPr/>
            </a:pPr>
            <a:r>
              <a:rPr lang="en-US" sz="2400" dirty="0" smtClean="0">
                <a:latin typeface="Candara" pitchFamily="34" charset="0"/>
              </a:rPr>
              <a:t> </a:t>
            </a:r>
            <a:endParaRPr lang="en-US" sz="2400" dirty="0">
              <a:latin typeface="Candara" pitchFamily="34" charset="0"/>
            </a:endParaRPr>
          </a:p>
        </p:txBody>
      </p:sp>
    </p:spTree>
    <p:extLst>
      <p:ext uri="{BB962C8B-B14F-4D97-AF65-F5344CB8AC3E}">
        <p14:creationId xmlns:p14="http://schemas.microsoft.com/office/powerpoint/2010/main" val="1342305723"/>
      </p:ext>
    </p:extLst>
  </p:cSld>
  <p:clrMapOvr>
    <a:masterClrMapping/>
  </p:clrMapOvr>
  <p:transition>
    <p:wipe dir="r"/>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 name="スライド番号プレースホルダ 3"/>
          <p:cNvSpPr>
            <a:spLocks noGrp="1"/>
          </p:cNvSpPr>
          <p:nvPr>
            <p:ph type="sldNum" sz="quarter" idx="4294967295"/>
          </p:nvPr>
        </p:nvSpPr>
        <p:spPr>
          <a:xfrm>
            <a:off x="152400" y="6519863"/>
            <a:ext cx="352425" cy="274637"/>
          </a:xfrm>
          <a:prstGeom prst="rect">
            <a:avLst/>
          </a:prstGeom>
        </p:spPr>
        <p:txBody>
          <a:bodyPr/>
          <a:lstStyle/>
          <a:p>
            <a:pPr>
              <a:defRPr/>
            </a:pPr>
            <a:fld id="{2EE44C71-32A8-4283-8E18-5D074A002DF3}" type="slidenum">
              <a:rPr lang="en-US" altLang="ja-JP"/>
              <a:pPr>
                <a:defRPr/>
              </a:pPr>
              <a:t>21</a:t>
            </a:fld>
            <a:endParaRPr lang="en-US" altLang="ja-JP" dirty="0"/>
          </a:p>
        </p:txBody>
      </p:sp>
      <p:sp>
        <p:nvSpPr>
          <p:cNvPr id="46084" name="Rectangle 44"/>
          <p:cNvSpPr>
            <a:spLocks noGrp="1" noChangeArrowheads="1"/>
          </p:cNvSpPr>
          <p:nvPr>
            <p:ph type="title"/>
          </p:nvPr>
        </p:nvSpPr>
        <p:spPr>
          <a:xfrm>
            <a:off x="381000" y="44624"/>
            <a:ext cx="3905250" cy="496094"/>
          </a:xfrm>
        </p:spPr>
        <p:txBody>
          <a:bodyPr/>
          <a:lstStyle/>
          <a:p>
            <a:r>
              <a:rPr lang="en-US" altLang="ja-JP" b="1" dirty="0" smtClean="0">
                <a:solidFill>
                  <a:schemeClr val="bg1"/>
                </a:solidFill>
                <a:latin typeface="Times New Roman" pitchFamily="18" charset="0"/>
                <a:ea typeface="ＭＳ Ｐゴシック" pitchFamily="50" charset="-128"/>
                <a:cs typeface="Arial" charset="0"/>
              </a:rPr>
              <a:t>KOMTRAX Plus</a:t>
            </a:r>
          </a:p>
        </p:txBody>
      </p:sp>
      <p:grpSp>
        <p:nvGrpSpPr>
          <p:cNvPr id="2" name="Group 338"/>
          <p:cNvGrpSpPr>
            <a:grpSpLocks/>
          </p:cNvGrpSpPr>
          <p:nvPr/>
        </p:nvGrpSpPr>
        <p:grpSpPr bwMode="auto">
          <a:xfrm>
            <a:off x="152400" y="1555750"/>
            <a:ext cx="6934200" cy="2592388"/>
            <a:chOff x="96" y="912"/>
            <a:chExt cx="4368" cy="1633"/>
          </a:xfrm>
        </p:grpSpPr>
        <p:sp>
          <p:nvSpPr>
            <p:cNvPr id="46109" name="Rectangle 257"/>
            <p:cNvSpPr>
              <a:spLocks noChangeArrowheads="1"/>
            </p:cNvSpPr>
            <p:nvPr/>
          </p:nvSpPr>
          <p:spPr bwMode="auto">
            <a:xfrm>
              <a:off x="96" y="912"/>
              <a:ext cx="4368" cy="1633"/>
            </a:xfrm>
            <a:prstGeom prst="rect">
              <a:avLst/>
            </a:prstGeom>
            <a:noFill/>
            <a:ln w="28575">
              <a:solidFill>
                <a:srgbClr val="008000"/>
              </a:solidFill>
              <a:miter lim="800000"/>
              <a:headEnd/>
              <a:tailEnd/>
            </a:ln>
            <a:extLst>
              <a:ext uri="{909E8E84-426E-40DD-AFC4-6F175D3DCCD1}">
                <a14:hiddenFill xmlns:a14="http://schemas.microsoft.com/office/drawing/2010/main">
                  <a:solidFill>
                    <a:srgbClr val="FFFFFF"/>
                  </a:solidFill>
                </a14:hiddenFill>
              </a:ext>
            </a:extLst>
          </p:spPr>
          <p:txBody>
            <a:bodyPr wrap="none" lIns="90000" tIns="46800" rIns="90000" bIns="46800" anchor="ctr"/>
            <a:lstStyle>
              <a:lvl1pPr>
                <a:defRPr sz="1400" b="1">
                  <a:solidFill>
                    <a:schemeClr val="tx1"/>
                  </a:solidFill>
                  <a:latin typeface="Arial" charset="0"/>
                  <a:cs typeface="Arial" charset="0"/>
                </a:defRPr>
              </a:lvl1pPr>
              <a:lvl2pPr marL="742950" indent="-285750">
                <a:defRPr sz="1400" b="1">
                  <a:solidFill>
                    <a:schemeClr val="tx1"/>
                  </a:solidFill>
                  <a:latin typeface="Arial" charset="0"/>
                  <a:cs typeface="Arial" charset="0"/>
                </a:defRPr>
              </a:lvl2pPr>
              <a:lvl3pPr marL="1143000" indent="-228600">
                <a:defRPr sz="1400" b="1">
                  <a:solidFill>
                    <a:schemeClr val="tx1"/>
                  </a:solidFill>
                  <a:latin typeface="Arial" charset="0"/>
                  <a:cs typeface="Arial" charset="0"/>
                </a:defRPr>
              </a:lvl3pPr>
              <a:lvl4pPr marL="1600200" indent="-228600">
                <a:defRPr sz="1400" b="1">
                  <a:solidFill>
                    <a:schemeClr val="tx1"/>
                  </a:solidFill>
                  <a:latin typeface="Arial" charset="0"/>
                  <a:cs typeface="Arial" charset="0"/>
                </a:defRPr>
              </a:lvl4pPr>
              <a:lvl5pPr marL="2057400" indent="-228600">
                <a:defRPr sz="1400" b="1">
                  <a:solidFill>
                    <a:schemeClr val="tx1"/>
                  </a:solidFill>
                  <a:latin typeface="Arial" charset="0"/>
                  <a:cs typeface="Arial" charset="0"/>
                </a:defRPr>
              </a:lvl5pPr>
              <a:lvl6pPr marL="2514600" indent="-228600" eaLnBrk="0" fontAlgn="base" hangingPunct="0">
                <a:spcBef>
                  <a:spcPct val="0"/>
                </a:spcBef>
                <a:spcAft>
                  <a:spcPct val="0"/>
                </a:spcAft>
                <a:defRPr sz="1400" b="1">
                  <a:solidFill>
                    <a:schemeClr val="tx1"/>
                  </a:solidFill>
                  <a:latin typeface="Arial" charset="0"/>
                  <a:cs typeface="Arial" charset="0"/>
                </a:defRPr>
              </a:lvl6pPr>
              <a:lvl7pPr marL="2971800" indent="-228600" eaLnBrk="0" fontAlgn="base" hangingPunct="0">
                <a:spcBef>
                  <a:spcPct val="0"/>
                </a:spcBef>
                <a:spcAft>
                  <a:spcPct val="0"/>
                </a:spcAft>
                <a:defRPr sz="1400" b="1">
                  <a:solidFill>
                    <a:schemeClr val="tx1"/>
                  </a:solidFill>
                  <a:latin typeface="Arial" charset="0"/>
                  <a:cs typeface="Arial" charset="0"/>
                </a:defRPr>
              </a:lvl7pPr>
              <a:lvl8pPr marL="3429000" indent="-228600" eaLnBrk="0" fontAlgn="base" hangingPunct="0">
                <a:spcBef>
                  <a:spcPct val="0"/>
                </a:spcBef>
                <a:spcAft>
                  <a:spcPct val="0"/>
                </a:spcAft>
                <a:defRPr sz="1400" b="1">
                  <a:solidFill>
                    <a:schemeClr val="tx1"/>
                  </a:solidFill>
                  <a:latin typeface="Arial" charset="0"/>
                  <a:cs typeface="Arial" charset="0"/>
                </a:defRPr>
              </a:lvl8pPr>
              <a:lvl9pPr marL="3886200" indent="-228600" eaLnBrk="0" fontAlgn="base" hangingPunct="0">
                <a:spcBef>
                  <a:spcPct val="0"/>
                </a:spcBef>
                <a:spcAft>
                  <a:spcPct val="0"/>
                </a:spcAft>
                <a:defRPr sz="1400" b="1">
                  <a:solidFill>
                    <a:schemeClr val="tx1"/>
                  </a:solidFill>
                  <a:latin typeface="Arial" charset="0"/>
                  <a:cs typeface="Arial" charset="0"/>
                </a:defRPr>
              </a:lvl9pPr>
            </a:lstStyle>
            <a:p>
              <a:pPr eaLnBrk="1" hangingPunct="1"/>
              <a:endParaRPr kumimoji="1" lang="ja-JP" altLang="ja-JP" sz="1200">
                <a:latin typeface="Times New Roman" pitchFamily="18" charset="0"/>
                <a:ea typeface="ＭＳ Ｐゴシック" pitchFamily="50" charset="-128"/>
              </a:endParaRPr>
            </a:p>
          </p:txBody>
        </p:sp>
        <p:pic>
          <p:nvPicPr>
            <p:cNvPr id="46110" name="Picture 327" descr="037_001"/>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92" y="1008"/>
              <a:ext cx="1387" cy="9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6111" name="AutoShape 260"/>
            <p:cNvSpPr>
              <a:spLocks noChangeArrowheads="1"/>
            </p:cNvSpPr>
            <p:nvPr/>
          </p:nvSpPr>
          <p:spPr bwMode="auto">
            <a:xfrm>
              <a:off x="1680" y="960"/>
              <a:ext cx="2592" cy="816"/>
            </a:xfrm>
            <a:prstGeom prst="wedgeRectCallout">
              <a:avLst>
                <a:gd name="adj1" fmla="val -63042"/>
                <a:gd name="adj2" fmla="val -10537"/>
              </a:avLst>
            </a:prstGeom>
            <a:solidFill>
              <a:srgbClr val="FFCC99"/>
            </a:solidFill>
            <a:ln w="12700">
              <a:solidFill>
                <a:srgbClr val="FF6600"/>
              </a:solidFill>
              <a:miter lim="800000"/>
              <a:headEnd/>
              <a:tailEnd/>
            </a:ln>
          </p:spPr>
          <p:txBody>
            <a:bodyPr lIns="90000" tIns="46800" rIns="90000" bIns="46800"/>
            <a:lstStyle>
              <a:lvl1pPr>
                <a:defRPr sz="1400" b="1">
                  <a:solidFill>
                    <a:schemeClr val="tx1"/>
                  </a:solidFill>
                  <a:latin typeface="Arial" charset="0"/>
                  <a:cs typeface="Arial" charset="0"/>
                </a:defRPr>
              </a:lvl1pPr>
              <a:lvl2pPr marL="742950" indent="-285750">
                <a:defRPr sz="1400" b="1">
                  <a:solidFill>
                    <a:schemeClr val="tx1"/>
                  </a:solidFill>
                  <a:latin typeface="Arial" charset="0"/>
                  <a:cs typeface="Arial" charset="0"/>
                </a:defRPr>
              </a:lvl2pPr>
              <a:lvl3pPr marL="1143000" indent="-228600">
                <a:defRPr sz="1400" b="1">
                  <a:solidFill>
                    <a:schemeClr val="tx1"/>
                  </a:solidFill>
                  <a:latin typeface="Arial" charset="0"/>
                  <a:cs typeface="Arial" charset="0"/>
                </a:defRPr>
              </a:lvl3pPr>
              <a:lvl4pPr marL="1600200" indent="-228600">
                <a:defRPr sz="1400" b="1">
                  <a:solidFill>
                    <a:schemeClr val="tx1"/>
                  </a:solidFill>
                  <a:latin typeface="Arial" charset="0"/>
                  <a:cs typeface="Arial" charset="0"/>
                </a:defRPr>
              </a:lvl4pPr>
              <a:lvl5pPr marL="2057400" indent="-228600">
                <a:defRPr sz="1400" b="1">
                  <a:solidFill>
                    <a:schemeClr val="tx1"/>
                  </a:solidFill>
                  <a:latin typeface="Arial" charset="0"/>
                  <a:cs typeface="Arial" charset="0"/>
                </a:defRPr>
              </a:lvl5pPr>
              <a:lvl6pPr marL="2514600" indent="-228600" eaLnBrk="0" fontAlgn="base" hangingPunct="0">
                <a:spcBef>
                  <a:spcPct val="0"/>
                </a:spcBef>
                <a:spcAft>
                  <a:spcPct val="0"/>
                </a:spcAft>
                <a:defRPr sz="1400" b="1">
                  <a:solidFill>
                    <a:schemeClr val="tx1"/>
                  </a:solidFill>
                  <a:latin typeface="Arial" charset="0"/>
                  <a:cs typeface="Arial" charset="0"/>
                </a:defRPr>
              </a:lvl6pPr>
              <a:lvl7pPr marL="2971800" indent="-228600" eaLnBrk="0" fontAlgn="base" hangingPunct="0">
                <a:spcBef>
                  <a:spcPct val="0"/>
                </a:spcBef>
                <a:spcAft>
                  <a:spcPct val="0"/>
                </a:spcAft>
                <a:defRPr sz="1400" b="1">
                  <a:solidFill>
                    <a:schemeClr val="tx1"/>
                  </a:solidFill>
                  <a:latin typeface="Arial" charset="0"/>
                  <a:cs typeface="Arial" charset="0"/>
                </a:defRPr>
              </a:lvl7pPr>
              <a:lvl8pPr marL="3429000" indent="-228600" eaLnBrk="0" fontAlgn="base" hangingPunct="0">
                <a:spcBef>
                  <a:spcPct val="0"/>
                </a:spcBef>
                <a:spcAft>
                  <a:spcPct val="0"/>
                </a:spcAft>
                <a:defRPr sz="1400" b="1">
                  <a:solidFill>
                    <a:schemeClr val="tx1"/>
                  </a:solidFill>
                  <a:latin typeface="Arial" charset="0"/>
                  <a:cs typeface="Arial" charset="0"/>
                </a:defRPr>
              </a:lvl8pPr>
              <a:lvl9pPr marL="3886200" indent="-228600" eaLnBrk="0" fontAlgn="base" hangingPunct="0">
                <a:spcBef>
                  <a:spcPct val="0"/>
                </a:spcBef>
                <a:spcAft>
                  <a:spcPct val="0"/>
                </a:spcAft>
                <a:defRPr sz="1400" b="1">
                  <a:solidFill>
                    <a:schemeClr val="tx1"/>
                  </a:solidFill>
                  <a:latin typeface="Arial" charset="0"/>
                  <a:cs typeface="Arial" charset="0"/>
                </a:defRPr>
              </a:lvl9pPr>
            </a:lstStyle>
            <a:p>
              <a:pPr algn="ctr" eaLnBrk="1" hangingPunct="1"/>
              <a:endParaRPr kumimoji="1" lang="ja-JP" altLang="ja-JP" sz="1200">
                <a:latin typeface="Times New Roman" pitchFamily="18" charset="0"/>
                <a:ea typeface="ＭＳ Ｐゴシック" pitchFamily="50" charset="-128"/>
              </a:endParaRPr>
            </a:p>
          </p:txBody>
        </p:sp>
        <p:sp>
          <p:nvSpPr>
            <p:cNvPr id="46112" name="AutoShape 266"/>
            <p:cNvSpPr>
              <a:spLocks noChangeArrowheads="1"/>
            </p:cNvSpPr>
            <p:nvPr/>
          </p:nvSpPr>
          <p:spPr bwMode="auto">
            <a:xfrm>
              <a:off x="1680" y="1776"/>
              <a:ext cx="2592" cy="720"/>
            </a:xfrm>
            <a:prstGeom prst="wedgeRectCallout">
              <a:avLst>
                <a:gd name="adj1" fmla="val -63042"/>
                <a:gd name="adj2" fmla="val -54722"/>
              </a:avLst>
            </a:prstGeom>
            <a:solidFill>
              <a:srgbClr val="FFCC99"/>
            </a:solidFill>
            <a:ln w="12700">
              <a:solidFill>
                <a:srgbClr val="FF6600"/>
              </a:solidFill>
              <a:miter lim="800000"/>
              <a:headEnd/>
              <a:tailEnd/>
            </a:ln>
          </p:spPr>
          <p:txBody>
            <a:bodyPr lIns="90000" tIns="46800" rIns="90000" bIns="46800"/>
            <a:lstStyle>
              <a:lvl1pPr>
                <a:defRPr sz="1400" b="1">
                  <a:solidFill>
                    <a:schemeClr val="tx1"/>
                  </a:solidFill>
                  <a:latin typeface="Arial" charset="0"/>
                  <a:cs typeface="Arial" charset="0"/>
                </a:defRPr>
              </a:lvl1pPr>
              <a:lvl2pPr marL="742950" indent="-285750">
                <a:defRPr sz="1400" b="1">
                  <a:solidFill>
                    <a:schemeClr val="tx1"/>
                  </a:solidFill>
                  <a:latin typeface="Arial" charset="0"/>
                  <a:cs typeface="Arial" charset="0"/>
                </a:defRPr>
              </a:lvl2pPr>
              <a:lvl3pPr marL="1143000" indent="-228600">
                <a:defRPr sz="1400" b="1">
                  <a:solidFill>
                    <a:schemeClr val="tx1"/>
                  </a:solidFill>
                  <a:latin typeface="Arial" charset="0"/>
                  <a:cs typeface="Arial" charset="0"/>
                </a:defRPr>
              </a:lvl3pPr>
              <a:lvl4pPr marL="1600200" indent="-228600">
                <a:defRPr sz="1400" b="1">
                  <a:solidFill>
                    <a:schemeClr val="tx1"/>
                  </a:solidFill>
                  <a:latin typeface="Arial" charset="0"/>
                  <a:cs typeface="Arial" charset="0"/>
                </a:defRPr>
              </a:lvl4pPr>
              <a:lvl5pPr marL="2057400" indent="-228600">
                <a:defRPr sz="1400" b="1">
                  <a:solidFill>
                    <a:schemeClr val="tx1"/>
                  </a:solidFill>
                  <a:latin typeface="Arial" charset="0"/>
                  <a:cs typeface="Arial" charset="0"/>
                </a:defRPr>
              </a:lvl5pPr>
              <a:lvl6pPr marL="2514600" indent="-228600" eaLnBrk="0" fontAlgn="base" hangingPunct="0">
                <a:spcBef>
                  <a:spcPct val="0"/>
                </a:spcBef>
                <a:spcAft>
                  <a:spcPct val="0"/>
                </a:spcAft>
                <a:defRPr sz="1400" b="1">
                  <a:solidFill>
                    <a:schemeClr val="tx1"/>
                  </a:solidFill>
                  <a:latin typeface="Arial" charset="0"/>
                  <a:cs typeface="Arial" charset="0"/>
                </a:defRPr>
              </a:lvl6pPr>
              <a:lvl7pPr marL="2971800" indent="-228600" eaLnBrk="0" fontAlgn="base" hangingPunct="0">
                <a:spcBef>
                  <a:spcPct val="0"/>
                </a:spcBef>
                <a:spcAft>
                  <a:spcPct val="0"/>
                </a:spcAft>
                <a:defRPr sz="1400" b="1">
                  <a:solidFill>
                    <a:schemeClr val="tx1"/>
                  </a:solidFill>
                  <a:latin typeface="Arial" charset="0"/>
                  <a:cs typeface="Arial" charset="0"/>
                </a:defRPr>
              </a:lvl7pPr>
              <a:lvl8pPr marL="3429000" indent="-228600" eaLnBrk="0" fontAlgn="base" hangingPunct="0">
                <a:spcBef>
                  <a:spcPct val="0"/>
                </a:spcBef>
                <a:spcAft>
                  <a:spcPct val="0"/>
                </a:spcAft>
                <a:defRPr sz="1400" b="1">
                  <a:solidFill>
                    <a:schemeClr val="tx1"/>
                  </a:solidFill>
                  <a:latin typeface="Arial" charset="0"/>
                  <a:cs typeface="Arial" charset="0"/>
                </a:defRPr>
              </a:lvl8pPr>
              <a:lvl9pPr marL="3886200" indent="-228600" eaLnBrk="0" fontAlgn="base" hangingPunct="0">
                <a:spcBef>
                  <a:spcPct val="0"/>
                </a:spcBef>
                <a:spcAft>
                  <a:spcPct val="0"/>
                </a:spcAft>
                <a:defRPr sz="1400" b="1">
                  <a:solidFill>
                    <a:schemeClr val="tx1"/>
                  </a:solidFill>
                  <a:latin typeface="Arial" charset="0"/>
                  <a:cs typeface="Arial" charset="0"/>
                </a:defRPr>
              </a:lvl9pPr>
            </a:lstStyle>
            <a:p>
              <a:pPr algn="ctr" eaLnBrk="1" hangingPunct="1"/>
              <a:endParaRPr kumimoji="1" lang="ja-JP" altLang="ja-JP" sz="1200">
                <a:latin typeface="Times New Roman" pitchFamily="18" charset="0"/>
                <a:ea typeface="ＭＳ Ｐゴシック" pitchFamily="50" charset="-128"/>
              </a:endParaRPr>
            </a:p>
          </p:txBody>
        </p:sp>
        <p:pic>
          <p:nvPicPr>
            <p:cNvPr id="46113" name="Picture 332" descr="037_Gateway Control Cente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238" y="1008"/>
              <a:ext cx="628" cy="6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6114" name="Picture 334" descr="037_Satellite Communication"/>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849" y="1008"/>
              <a:ext cx="909" cy="6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6115" name="Picture 336" descr="037_VHMS data download"/>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2016" y="1824"/>
              <a:ext cx="784" cy="6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6116" name="Picture 337" descr="037_VHMS data Wireless download"/>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3168" y="1824"/>
              <a:ext cx="939" cy="6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6117" name="Freeform 262"/>
            <p:cNvSpPr>
              <a:spLocks/>
            </p:cNvSpPr>
            <p:nvPr/>
          </p:nvSpPr>
          <p:spPr bwMode="auto">
            <a:xfrm>
              <a:off x="1407" y="1193"/>
              <a:ext cx="560" cy="246"/>
            </a:xfrm>
            <a:custGeom>
              <a:avLst/>
              <a:gdLst>
                <a:gd name="T0" fmla="*/ 560 w 560"/>
                <a:gd name="T1" fmla="*/ 0 h 246"/>
                <a:gd name="T2" fmla="*/ 242 w 560"/>
                <a:gd name="T3" fmla="*/ 93 h 246"/>
                <a:gd name="T4" fmla="*/ 294 w 560"/>
                <a:gd name="T5" fmla="*/ 138 h 246"/>
                <a:gd name="T6" fmla="*/ 0 w 560"/>
                <a:gd name="T7" fmla="*/ 246 h 246"/>
                <a:gd name="T8" fmla="*/ 387 w 560"/>
                <a:gd name="T9" fmla="*/ 159 h 246"/>
                <a:gd name="T10" fmla="*/ 320 w 560"/>
                <a:gd name="T11" fmla="*/ 106 h 246"/>
                <a:gd name="T12" fmla="*/ 560 w 560"/>
                <a:gd name="T13" fmla="*/ 0 h 246"/>
                <a:gd name="T14" fmla="*/ 0 60000 65536"/>
                <a:gd name="T15" fmla="*/ 0 60000 65536"/>
                <a:gd name="T16" fmla="*/ 0 60000 65536"/>
                <a:gd name="T17" fmla="*/ 0 60000 65536"/>
                <a:gd name="T18" fmla="*/ 0 60000 65536"/>
                <a:gd name="T19" fmla="*/ 0 60000 65536"/>
                <a:gd name="T20" fmla="*/ 0 60000 65536"/>
                <a:gd name="T21" fmla="*/ 0 w 560"/>
                <a:gd name="T22" fmla="*/ 0 h 246"/>
                <a:gd name="T23" fmla="*/ 560 w 560"/>
                <a:gd name="T24" fmla="*/ 246 h 24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60" h="246">
                  <a:moveTo>
                    <a:pt x="560" y="0"/>
                  </a:moveTo>
                  <a:lnTo>
                    <a:pt x="242" y="93"/>
                  </a:lnTo>
                  <a:lnTo>
                    <a:pt x="294" y="138"/>
                  </a:lnTo>
                  <a:lnTo>
                    <a:pt x="0" y="246"/>
                  </a:lnTo>
                  <a:lnTo>
                    <a:pt x="387" y="159"/>
                  </a:lnTo>
                  <a:lnTo>
                    <a:pt x="320" y="106"/>
                  </a:lnTo>
                  <a:lnTo>
                    <a:pt x="560" y="0"/>
                  </a:lnTo>
                  <a:close/>
                </a:path>
              </a:pathLst>
            </a:custGeom>
            <a:solidFill>
              <a:srgbClr val="FFFF99"/>
            </a:solidFill>
            <a:ln w="12700">
              <a:solidFill>
                <a:srgbClr val="FFCC00"/>
              </a:solidFill>
              <a:round/>
              <a:headEnd/>
              <a:tailEnd/>
            </a:ln>
          </p:spPr>
          <p:txBody>
            <a:bodyPr lIns="90000" tIns="46800" rIns="90000" bIns="46800"/>
            <a:lstStyle/>
            <a:p>
              <a:endParaRPr lang="ja-JP" altLang="en-US" sz="1200" b="1"/>
            </a:p>
          </p:txBody>
        </p:sp>
        <p:sp>
          <p:nvSpPr>
            <p:cNvPr id="46118" name="Freeform 261"/>
            <p:cNvSpPr>
              <a:spLocks/>
            </p:cNvSpPr>
            <p:nvPr/>
          </p:nvSpPr>
          <p:spPr bwMode="auto">
            <a:xfrm>
              <a:off x="2352" y="1152"/>
              <a:ext cx="1104" cy="96"/>
            </a:xfrm>
            <a:custGeom>
              <a:avLst/>
              <a:gdLst>
                <a:gd name="T0" fmla="*/ 0 w 1338"/>
                <a:gd name="T1" fmla="*/ 0 h 114"/>
                <a:gd name="T2" fmla="*/ 2 w 1338"/>
                <a:gd name="T3" fmla="*/ 3 h 114"/>
                <a:gd name="T4" fmla="*/ 2 w 1338"/>
                <a:gd name="T5" fmla="*/ 3 h 114"/>
                <a:gd name="T6" fmla="*/ 2 w 1338"/>
                <a:gd name="T7" fmla="*/ 3 h 114"/>
                <a:gd name="T8" fmla="*/ 2 w 1338"/>
                <a:gd name="T9" fmla="*/ 3 h 114"/>
                <a:gd name="T10" fmla="*/ 2 w 1338"/>
                <a:gd name="T11" fmla="*/ 3 h 114"/>
                <a:gd name="T12" fmla="*/ 0 w 1338"/>
                <a:gd name="T13" fmla="*/ 0 h 114"/>
                <a:gd name="T14" fmla="*/ 0 60000 65536"/>
                <a:gd name="T15" fmla="*/ 0 60000 65536"/>
                <a:gd name="T16" fmla="*/ 0 60000 65536"/>
                <a:gd name="T17" fmla="*/ 0 60000 65536"/>
                <a:gd name="T18" fmla="*/ 0 60000 65536"/>
                <a:gd name="T19" fmla="*/ 0 60000 65536"/>
                <a:gd name="T20" fmla="*/ 0 60000 65536"/>
                <a:gd name="T21" fmla="*/ 0 w 1338"/>
                <a:gd name="T22" fmla="*/ 0 h 114"/>
                <a:gd name="T23" fmla="*/ 1338 w 1338"/>
                <a:gd name="T24" fmla="*/ 114 h 11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338" h="114">
                  <a:moveTo>
                    <a:pt x="0" y="0"/>
                  </a:moveTo>
                  <a:lnTo>
                    <a:pt x="1008" y="18"/>
                  </a:lnTo>
                  <a:lnTo>
                    <a:pt x="798" y="84"/>
                  </a:lnTo>
                  <a:lnTo>
                    <a:pt x="1338" y="114"/>
                  </a:lnTo>
                  <a:lnTo>
                    <a:pt x="492" y="114"/>
                  </a:lnTo>
                  <a:lnTo>
                    <a:pt x="744" y="48"/>
                  </a:lnTo>
                  <a:lnTo>
                    <a:pt x="0" y="0"/>
                  </a:lnTo>
                  <a:close/>
                </a:path>
              </a:pathLst>
            </a:custGeom>
            <a:solidFill>
              <a:srgbClr val="FFFF99"/>
            </a:solidFill>
            <a:ln w="12700">
              <a:solidFill>
                <a:srgbClr val="FFCC00"/>
              </a:solidFill>
              <a:round/>
              <a:headEnd/>
              <a:tailEnd/>
            </a:ln>
          </p:spPr>
          <p:txBody>
            <a:bodyPr lIns="90000" tIns="46800" rIns="90000" bIns="46800"/>
            <a:lstStyle/>
            <a:p>
              <a:endParaRPr lang="ja-JP" altLang="en-US" sz="1200" b="1"/>
            </a:p>
          </p:txBody>
        </p:sp>
        <p:sp>
          <p:nvSpPr>
            <p:cNvPr id="46119" name="Text Box 283"/>
            <p:cNvSpPr txBox="1">
              <a:spLocks noChangeArrowheads="1"/>
            </p:cNvSpPr>
            <p:nvPr/>
          </p:nvSpPr>
          <p:spPr bwMode="auto">
            <a:xfrm>
              <a:off x="1743" y="1632"/>
              <a:ext cx="1027" cy="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sz="1400" b="1">
                  <a:solidFill>
                    <a:schemeClr val="tx1"/>
                  </a:solidFill>
                  <a:latin typeface="Arial" charset="0"/>
                  <a:cs typeface="Arial" charset="0"/>
                </a:defRPr>
              </a:lvl1pPr>
              <a:lvl2pPr marL="742950" indent="-285750">
                <a:defRPr sz="1400" b="1">
                  <a:solidFill>
                    <a:schemeClr val="tx1"/>
                  </a:solidFill>
                  <a:latin typeface="Arial" charset="0"/>
                  <a:cs typeface="Arial" charset="0"/>
                </a:defRPr>
              </a:lvl2pPr>
              <a:lvl3pPr marL="1143000" indent="-228600">
                <a:defRPr sz="1400" b="1">
                  <a:solidFill>
                    <a:schemeClr val="tx1"/>
                  </a:solidFill>
                  <a:latin typeface="Arial" charset="0"/>
                  <a:cs typeface="Arial" charset="0"/>
                </a:defRPr>
              </a:lvl3pPr>
              <a:lvl4pPr marL="1600200" indent="-228600">
                <a:defRPr sz="1400" b="1">
                  <a:solidFill>
                    <a:schemeClr val="tx1"/>
                  </a:solidFill>
                  <a:latin typeface="Arial" charset="0"/>
                  <a:cs typeface="Arial" charset="0"/>
                </a:defRPr>
              </a:lvl4pPr>
              <a:lvl5pPr marL="2057400" indent="-228600">
                <a:defRPr sz="1400" b="1">
                  <a:solidFill>
                    <a:schemeClr val="tx1"/>
                  </a:solidFill>
                  <a:latin typeface="Arial" charset="0"/>
                  <a:cs typeface="Arial" charset="0"/>
                </a:defRPr>
              </a:lvl5pPr>
              <a:lvl6pPr marL="2514600" indent="-228600" eaLnBrk="0" fontAlgn="base" hangingPunct="0">
                <a:spcBef>
                  <a:spcPct val="0"/>
                </a:spcBef>
                <a:spcAft>
                  <a:spcPct val="0"/>
                </a:spcAft>
                <a:defRPr sz="1400" b="1">
                  <a:solidFill>
                    <a:schemeClr val="tx1"/>
                  </a:solidFill>
                  <a:latin typeface="Arial" charset="0"/>
                  <a:cs typeface="Arial" charset="0"/>
                </a:defRPr>
              </a:lvl6pPr>
              <a:lvl7pPr marL="2971800" indent="-228600" eaLnBrk="0" fontAlgn="base" hangingPunct="0">
                <a:spcBef>
                  <a:spcPct val="0"/>
                </a:spcBef>
                <a:spcAft>
                  <a:spcPct val="0"/>
                </a:spcAft>
                <a:defRPr sz="1400" b="1">
                  <a:solidFill>
                    <a:schemeClr val="tx1"/>
                  </a:solidFill>
                  <a:latin typeface="Arial" charset="0"/>
                  <a:cs typeface="Arial" charset="0"/>
                </a:defRPr>
              </a:lvl7pPr>
              <a:lvl8pPr marL="3429000" indent="-228600" eaLnBrk="0" fontAlgn="base" hangingPunct="0">
                <a:spcBef>
                  <a:spcPct val="0"/>
                </a:spcBef>
                <a:spcAft>
                  <a:spcPct val="0"/>
                </a:spcAft>
                <a:defRPr sz="1400" b="1">
                  <a:solidFill>
                    <a:schemeClr val="tx1"/>
                  </a:solidFill>
                  <a:latin typeface="Arial" charset="0"/>
                  <a:cs typeface="Arial" charset="0"/>
                </a:defRPr>
              </a:lvl8pPr>
              <a:lvl9pPr marL="3886200" indent="-228600" eaLnBrk="0" fontAlgn="base" hangingPunct="0">
                <a:spcBef>
                  <a:spcPct val="0"/>
                </a:spcBef>
                <a:spcAft>
                  <a:spcPct val="0"/>
                </a:spcAft>
                <a:defRPr sz="1400" b="1">
                  <a:solidFill>
                    <a:schemeClr val="tx1"/>
                  </a:solidFill>
                  <a:latin typeface="Arial" charset="0"/>
                  <a:cs typeface="Arial" charset="0"/>
                </a:defRPr>
              </a:lvl9pPr>
            </a:lstStyle>
            <a:p>
              <a:pPr eaLnBrk="1" hangingPunct="1"/>
              <a:r>
                <a:rPr kumimoji="1" lang="en-US" altLang="ja-JP" sz="1200">
                  <a:latin typeface="Times New Roman" pitchFamily="18" charset="0"/>
                  <a:ea typeface="ＭＳ Ｐゴシック" pitchFamily="50" charset="-128"/>
                </a:rPr>
                <a:t>Satellite Communication</a:t>
              </a:r>
            </a:p>
          </p:txBody>
        </p:sp>
        <p:sp>
          <p:nvSpPr>
            <p:cNvPr id="46120" name="Text Box 284"/>
            <p:cNvSpPr txBox="1">
              <a:spLocks noChangeArrowheads="1"/>
            </p:cNvSpPr>
            <p:nvPr/>
          </p:nvSpPr>
          <p:spPr bwMode="auto">
            <a:xfrm>
              <a:off x="3005" y="1632"/>
              <a:ext cx="1022" cy="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sz="1400" b="1">
                  <a:solidFill>
                    <a:schemeClr val="tx1"/>
                  </a:solidFill>
                  <a:latin typeface="Arial" charset="0"/>
                  <a:cs typeface="Arial" charset="0"/>
                </a:defRPr>
              </a:lvl1pPr>
              <a:lvl2pPr marL="742950" indent="-285750">
                <a:defRPr sz="1400" b="1">
                  <a:solidFill>
                    <a:schemeClr val="tx1"/>
                  </a:solidFill>
                  <a:latin typeface="Arial" charset="0"/>
                  <a:cs typeface="Arial" charset="0"/>
                </a:defRPr>
              </a:lvl2pPr>
              <a:lvl3pPr marL="1143000" indent="-228600">
                <a:defRPr sz="1400" b="1">
                  <a:solidFill>
                    <a:schemeClr val="tx1"/>
                  </a:solidFill>
                  <a:latin typeface="Arial" charset="0"/>
                  <a:cs typeface="Arial" charset="0"/>
                </a:defRPr>
              </a:lvl3pPr>
              <a:lvl4pPr marL="1600200" indent="-228600">
                <a:defRPr sz="1400" b="1">
                  <a:solidFill>
                    <a:schemeClr val="tx1"/>
                  </a:solidFill>
                  <a:latin typeface="Arial" charset="0"/>
                  <a:cs typeface="Arial" charset="0"/>
                </a:defRPr>
              </a:lvl4pPr>
              <a:lvl5pPr marL="2057400" indent="-228600">
                <a:defRPr sz="1400" b="1">
                  <a:solidFill>
                    <a:schemeClr val="tx1"/>
                  </a:solidFill>
                  <a:latin typeface="Arial" charset="0"/>
                  <a:cs typeface="Arial" charset="0"/>
                </a:defRPr>
              </a:lvl5pPr>
              <a:lvl6pPr marL="2514600" indent="-228600" eaLnBrk="0" fontAlgn="base" hangingPunct="0">
                <a:spcBef>
                  <a:spcPct val="0"/>
                </a:spcBef>
                <a:spcAft>
                  <a:spcPct val="0"/>
                </a:spcAft>
                <a:defRPr sz="1400" b="1">
                  <a:solidFill>
                    <a:schemeClr val="tx1"/>
                  </a:solidFill>
                  <a:latin typeface="Arial" charset="0"/>
                  <a:cs typeface="Arial" charset="0"/>
                </a:defRPr>
              </a:lvl6pPr>
              <a:lvl7pPr marL="2971800" indent="-228600" eaLnBrk="0" fontAlgn="base" hangingPunct="0">
                <a:spcBef>
                  <a:spcPct val="0"/>
                </a:spcBef>
                <a:spcAft>
                  <a:spcPct val="0"/>
                </a:spcAft>
                <a:defRPr sz="1400" b="1">
                  <a:solidFill>
                    <a:schemeClr val="tx1"/>
                  </a:solidFill>
                  <a:latin typeface="Arial" charset="0"/>
                  <a:cs typeface="Arial" charset="0"/>
                </a:defRPr>
              </a:lvl7pPr>
              <a:lvl8pPr marL="3429000" indent="-228600" eaLnBrk="0" fontAlgn="base" hangingPunct="0">
                <a:spcBef>
                  <a:spcPct val="0"/>
                </a:spcBef>
                <a:spcAft>
                  <a:spcPct val="0"/>
                </a:spcAft>
                <a:defRPr sz="1400" b="1">
                  <a:solidFill>
                    <a:schemeClr val="tx1"/>
                  </a:solidFill>
                  <a:latin typeface="Arial" charset="0"/>
                  <a:cs typeface="Arial" charset="0"/>
                </a:defRPr>
              </a:lvl8pPr>
              <a:lvl9pPr marL="3886200" indent="-228600" eaLnBrk="0" fontAlgn="base" hangingPunct="0">
                <a:spcBef>
                  <a:spcPct val="0"/>
                </a:spcBef>
                <a:spcAft>
                  <a:spcPct val="0"/>
                </a:spcAft>
                <a:defRPr sz="1400" b="1">
                  <a:solidFill>
                    <a:schemeClr val="tx1"/>
                  </a:solidFill>
                  <a:latin typeface="Arial" charset="0"/>
                  <a:cs typeface="Arial" charset="0"/>
                </a:defRPr>
              </a:lvl9pPr>
            </a:lstStyle>
            <a:p>
              <a:pPr eaLnBrk="1" hangingPunct="1"/>
              <a:r>
                <a:rPr kumimoji="1" lang="en-US" altLang="ja-JP" sz="1200">
                  <a:latin typeface="Times New Roman" pitchFamily="18" charset="0"/>
                  <a:ea typeface="ＭＳ Ｐゴシック" pitchFamily="50" charset="-128"/>
                </a:rPr>
                <a:t>Gateway Control Center</a:t>
              </a:r>
            </a:p>
          </p:txBody>
        </p:sp>
        <p:sp>
          <p:nvSpPr>
            <p:cNvPr id="46121" name="Text Box 285"/>
            <p:cNvSpPr txBox="1">
              <a:spLocks noChangeArrowheads="1"/>
            </p:cNvSpPr>
            <p:nvPr/>
          </p:nvSpPr>
          <p:spPr bwMode="gray">
            <a:xfrm>
              <a:off x="1728" y="1777"/>
              <a:ext cx="972" cy="2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36000" tIns="36000" rIns="36000" bIns="36000">
              <a:spAutoFit/>
            </a:bodyPr>
            <a:lstStyle>
              <a:lvl1pPr>
                <a:defRPr sz="1400" b="1">
                  <a:solidFill>
                    <a:schemeClr val="tx1"/>
                  </a:solidFill>
                  <a:latin typeface="Arial" charset="0"/>
                  <a:cs typeface="Arial" charset="0"/>
                </a:defRPr>
              </a:lvl1pPr>
              <a:lvl2pPr marL="742950" indent="-285750">
                <a:defRPr sz="1400" b="1">
                  <a:solidFill>
                    <a:schemeClr val="tx1"/>
                  </a:solidFill>
                  <a:latin typeface="Arial" charset="0"/>
                  <a:cs typeface="Arial" charset="0"/>
                </a:defRPr>
              </a:lvl2pPr>
              <a:lvl3pPr marL="1143000" indent="-228600">
                <a:defRPr sz="1400" b="1">
                  <a:solidFill>
                    <a:schemeClr val="tx1"/>
                  </a:solidFill>
                  <a:latin typeface="Arial" charset="0"/>
                  <a:cs typeface="Arial" charset="0"/>
                </a:defRPr>
              </a:lvl3pPr>
              <a:lvl4pPr marL="1600200" indent="-228600">
                <a:defRPr sz="1400" b="1">
                  <a:solidFill>
                    <a:schemeClr val="tx1"/>
                  </a:solidFill>
                  <a:latin typeface="Arial" charset="0"/>
                  <a:cs typeface="Arial" charset="0"/>
                </a:defRPr>
              </a:lvl4pPr>
              <a:lvl5pPr marL="2057400" indent="-228600">
                <a:defRPr sz="1400" b="1">
                  <a:solidFill>
                    <a:schemeClr val="tx1"/>
                  </a:solidFill>
                  <a:latin typeface="Arial" charset="0"/>
                  <a:cs typeface="Arial" charset="0"/>
                </a:defRPr>
              </a:lvl5pPr>
              <a:lvl6pPr marL="2514600" indent="-228600" eaLnBrk="0" fontAlgn="base" hangingPunct="0">
                <a:spcBef>
                  <a:spcPct val="0"/>
                </a:spcBef>
                <a:spcAft>
                  <a:spcPct val="0"/>
                </a:spcAft>
                <a:defRPr sz="1400" b="1">
                  <a:solidFill>
                    <a:schemeClr val="tx1"/>
                  </a:solidFill>
                  <a:latin typeface="Arial" charset="0"/>
                  <a:cs typeface="Arial" charset="0"/>
                </a:defRPr>
              </a:lvl6pPr>
              <a:lvl7pPr marL="2971800" indent="-228600" eaLnBrk="0" fontAlgn="base" hangingPunct="0">
                <a:spcBef>
                  <a:spcPct val="0"/>
                </a:spcBef>
                <a:spcAft>
                  <a:spcPct val="0"/>
                </a:spcAft>
                <a:defRPr sz="1400" b="1">
                  <a:solidFill>
                    <a:schemeClr val="tx1"/>
                  </a:solidFill>
                  <a:latin typeface="Arial" charset="0"/>
                  <a:cs typeface="Arial" charset="0"/>
                </a:defRPr>
              </a:lvl7pPr>
              <a:lvl8pPr marL="3429000" indent="-228600" eaLnBrk="0" fontAlgn="base" hangingPunct="0">
                <a:spcBef>
                  <a:spcPct val="0"/>
                </a:spcBef>
                <a:spcAft>
                  <a:spcPct val="0"/>
                </a:spcAft>
                <a:defRPr sz="1400" b="1">
                  <a:solidFill>
                    <a:schemeClr val="tx1"/>
                  </a:solidFill>
                  <a:latin typeface="Arial" charset="0"/>
                  <a:cs typeface="Arial" charset="0"/>
                </a:defRPr>
              </a:lvl8pPr>
              <a:lvl9pPr marL="3886200" indent="-228600" eaLnBrk="0" fontAlgn="base" hangingPunct="0">
                <a:spcBef>
                  <a:spcPct val="0"/>
                </a:spcBef>
                <a:spcAft>
                  <a:spcPct val="0"/>
                </a:spcAft>
                <a:defRPr sz="1400" b="1">
                  <a:solidFill>
                    <a:schemeClr val="tx1"/>
                  </a:solidFill>
                  <a:latin typeface="Arial" charset="0"/>
                  <a:cs typeface="Arial" charset="0"/>
                </a:defRPr>
              </a:lvl9pPr>
            </a:lstStyle>
            <a:p>
              <a:pPr eaLnBrk="1" hangingPunct="1">
                <a:lnSpc>
                  <a:spcPct val="80000"/>
                </a:lnSpc>
              </a:pPr>
              <a:r>
                <a:rPr kumimoji="1" lang="en-US" altLang="ja-JP" sz="1200">
                  <a:latin typeface="Times New Roman" pitchFamily="18" charset="0"/>
                  <a:ea typeface="ＭＳ Ｐゴシック" pitchFamily="50" charset="-128"/>
                </a:rPr>
                <a:t>KOMTRAX Plus data</a:t>
              </a:r>
              <a:br>
                <a:rPr kumimoji="1" lang="en-US" altLang="ja-JP" sz="1200">
                  <a:latin typeface="Times New Roman" pitchFamily="18" charset="0"/>
                  <a:ea typeface="ＭＳ Ｐゴシック" pitchFamily="50" charset="-128"/>
                </a:rPr>
              </a:br>
              <a:r>
                <a:rPr kumimoji="1" lang="en-US" altLang="ja-JP" sz="1200">
                  <a:latin typeface="Times New Roman" pitchFamily="18" charset="0"/>
                  <a:ea typeface="ＭＳ Ｐゴシック" pitchFamily="50" charset="-128"/>
                </a:rPr>
                <a:t>download</a:t>
              </a:r>
            </a:p>
          </p:txBody>
        </p:sp>
        <p:sp>
          <p:nvSpPr>
            <p:cNvPr id="46122" name="Text Box 286"/>
            <p:cNvSpPr txBox="1">
              <a:spLocks noChangeArrowheads="1"/>
            </p:cNvSpPr>
            <p:nvPr/>
          </p:nvSpPr>
          <p:spPr bwMode="gray">
            <a:xfrm>
              <a:off x="2880" y="1777"/>
              <a:ext cx="972" cy="2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36000" tIns="36000" rIns="36000" bIns="36000">
              <a:spAutoFit/>
            </a:bodyPr>
            <a:lstStyle>
              <a:lvl1pPr>
                <a:defRPr sz="1400" b="1">
                  <a:solidFill>
                    <a:schemeClr val="tx1"/>
                  </a:solidFill>
                  <a:latin typeface="Arial" charset="0"/>
                  <a:cs typeface="Arial" charset="0"/>
                </a:defRPr>
              </a:lvl1pPr>
              <a:lvl2pPr marL="742950" indent="-285750">
                <a:defRPr sz="1400" b="1">
                  <a:solidFill>
                    <a:schemeClr val="tx1"/>
                  </a:solidFill>
                  <a:latin typeface="Arial" charset="0"/>
                  <a:cs typeface="Arial" charset="0"/>
                </a:defRPr>
              </a:lvl2pPr>
              <a:lvl3pPr marL="1143000" indent="-228600">
                <a:defRPr sz="1400" b="1">
                  <a:solidFill>
                    <a:schemeClr val="tx1"/>
                  </a:solidFill>
                  <a:latin typeface="Arial" charset="0"/>
                  <a:cs typeface="Arial" charset="0"/>
                </a:defRPr>
              </a:lvl3pPr>
              <a:lvl4pPr marL="1600200" indent="-228600">
                <a:defRPr sz="1400" b="1">
                  <a:solidFill>
                    <a:schemeClr val="tx1"/>
                  </a:solidFill>
                  <a:latin typeface="Arial" charset="0"/>
                  <a:cs typeface="Arial" charset="0"/>
                </a:defRPr>
              </a:lvl4pPr>
              <a:lvl5pPr marL="2057400" indent="-228600">
                <a:defRPr sz="1400" b="1">
                  <a:solidFill>
                    <a:schemeClr val="tx1"/>
                  </a:solidFill>
                  <a:latin typeface="Arial" charset="0"/>
                  <a:cs typeface="Arial" charset="0"/>
                </a:defRPr>
              </a:lvl5pPr>
              <a:lvl6pPr marL="2514600" indent="-228600" eaLnBrk="0" fontAlgn="base" hangingPunct="0">
                <a:spcBef>
                  <a:spcPct val="0"/>
                </a:spcBef>
                <a:spcAft>
                  <a:spcPct val="0"/>
                </a:spcAft>
                <a:defRPr sz="1400" b="1">
                  <a:solidFill>
                    <a:schemeClr val="tx1"/>
                  </a:solidFill>
                  <a:latin typeface="Arial" charset="0"/>
                  <a:cs typeface="Arial" charset="0"/>
                </a:defRPr>
              </a:lvl6pPr>
              <a:lvl7pPr marL="2971800" indent="-228600" eaLnBrk="0" fontAlgn="base" hangingPunct="0">
                <a:spcBef>
                  <a:spcPct val="0"/>
                </a:spcBef>
                <a:spcAft>
                  <a:spcPct val="0"/>
                </a:spcAft>
                <a:defRPr sz="1400" b="1">
                  <a:solidFill>
                    <a:schemeClr val="tx1"/>
                  </a:solidFill>
                  <a:latin typeface="Arial" charset="0"/>
                  <a:cs typeface="Arial" charset="0"/>
                </a:defRPr>
              </a:lvl7pPr>
              <a:lvl8pPr marL="3429000" indent="-228600" eaLnBrk="0" fontAlgn="base" hangingPunct="0">
                <a:spcBef>
                  <a:spcPct val="0"/>
                </a:spcBef>
                <a:spcAft>
                  <a:spcPct val="0"/>
                </a:spcAft>
                <a:defRPr sz="1400" b="1">
                  <a:solidFill>
                    <a:schemeClr val="tx1"/>
                  </a:solidFill>
                  <a:latin typeface="Arial" charset="0"/>
                  <a:cs typeface="Arial" charset="0"/>
                </a:defRPr>
              </a:lvl8pPr>
              <a:lvl9pPr marL="3886200" indent="-228600" eaLnBrk="0" fontAlgn="base" hangingPunct="0">
                <a:spcBef>
                  <a:spcPct val="0"/>
                </a:spcBef>
                <a:spcAft>
                  <a:spcPct val="0"/>
                </a:spcAft>
                <a:defRPr sz="1400" b="1">
                  <a:solidFill>
                    <a:schemeClr val="tx1"/>
                  </a:solidFill>
                  <a:latin typeface="Arial" charset="0"/>
                  <a:cs typeface="Arial" charset="0"/>
                </a:defRPr>
              </a:lvl9pPr>
            </a:lstStyle>
            <a:p>
              <a:pPr eaLnBrk="1" hangingPunct="1">
                <a:lnSpc>
                  <a:spcPct val="80000"/>
                </a:lnSpc>
              </a:pPr>
              <a:r>
                <a:rPr kumimoji="1" lang="en-US" altLang="ja-JP" sz="1200">
                  <a:latin typeface="Times New Roman" pitchFamily="18" charset="0"/>
                  <a:ea typeface="ＭＳ Ｐゴシック" pitchFamily="50" charset="-128"/>
                </a:rPr>
                <a:t>KOMTRAX Plus data</a:t>
              </a:r>
              <a:br>
                <a:rPr kumimoji="1" lang="en-US" altLang="ja-JP" sz="1200">
                  <a:latin typeface="Times New Roman" pitchFamily="18" charset="0"/>
                  <a:ea typeface="ＭＳ Ｐゴシック" pitchFamily="50" charset="-128"/>
                </a:rPr>
              </a:br>
              <a:r>
                <a:rPr kumimoji="1" lang="en-US" altLang="ja-JP" sz="1200">
                  <a:latin typeface="Times New Roman" pitchFamily="18" charset="0"/>
                  <a:ea typeface="ＭＳ Ｐゴシック" pitchFamily="50" charset="-128"/>
                </a:rPr>
                <a:t>Wireless download</a:t>
              </a:r>
            </a:p>
          </p:txBody>
        </p:sp>
      </p:grpSp>
      <p:grpSp>
        <p:nvGrpSpPr>
          <p:cNvPr id="3" name="Group 339"/>
          <p:cNvGrpSpPr>
            <a:grpSpLocks/>
          </p:cNvGrpSpPr>
          <p:nvPr/>
        </p:nvGrpSpPr>
        <p:grpSpPr bwMode="auto">
          <a:xfrm>
            <a:off x="6934200" y="1735138"/>
            <a:ext cx="2070100" cy="2362200"/>
            <a:chOff x="4368" y="1008"/>
            <a:chExt cx="1304" cy="1488"/>
          </a:xfrm>
        </p:grpSpPr>
        <p:pic>
          <p:nvPicPr>
            <p:cNvPr id="46106" name="Picture 328" descr="037_002"/>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4992" y="1632"/>
              <a:ext cx="680" cy="8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6107" name="AutoShape 269"/>
            <p:cNvSpPr>
              <a:spLocks noChangeArrowheads="1"/>
            </p:cNvSpPr>
            <p:nvPr/>
          </p:nvSpPr>
          <p:spPr bwMode="auto">
            <a:xfrm rot="16200000" flipH="1">
              <a:off x="4704" y="1920"/>
              <a:ext cx="384" cy="384"/>
            </a:xfrm>
            <a:prstGeom prst="rightArrow">
              <a:avLst>
                <a:gd name="adj1" fmla="val 50009"/>
                <a:gd name="adj2" fmla="val 50005"/>
              </a:avLst>
            </a:prstGeom>
            <a:solidFill>
              <a:srgbClr val="FF6600"/>
            </a:solidFill>
            <a:ln>
              <a:noFill/>
            </a:ln>
            <a:extLst>
              <a:ext uri="{91240B29-F687-4F45-9708-019B960494DF}">
                <a14:hiddenLine xmlns:a14="http://schemas.microsoft.com/office/drawing/2010/main" w="12700">
                  <a:solidFill>
                    <a:srgbClr val="000000"/>
                  </a:solidFill>
                  <a:miter lim="800000"/>
                  <a:headEnd/>
                  <a:tailEnd/>
                </a14:hiddenLine>
              </a:ext>
            </a:extLst>
          </p:spPr>
          <p:txBody>
            <a:bodyPr wrap="none" anchor="ctr"/>
            <a:lstStyle>
              <a:lvl1pPr>
                <a:defRPr sz="1400" b="1">
                  <a:solidFill>
                    <a:schemeClr val="tx1"/>
                  </a:solidFill>
                  <a:latin typeface="Arial" charset="0"/>
                  <a:cs typeface="Arial" charset="0"/>
                </a:defRPr>
              </a:lvl1pPr>
              <a:lvl2pPr marL="742950" indent="-285750">
                <a:defRPr sz="1400" b="1">
                  <a:solidFill>
                    <a:schemeClr val="tx1"/>
                  </a:solidFill>
                  <a:latin typeface="Arial" charset="0"/>
                  <a:cs typeface="Arial" charset="0"/>
                </a:defRPr>
              </a:lvl2pPr>
              <a:lvl3pPr marL="1143000" indent="-228600">
                <a:defRPr sz="1400" b="1">
                  <a:solidFill>
                    <a:schemeClr val="tx1"/>
                  </a:solidFill>
                  <a:latin typeface="Arial" charset="0"/>
                  <a:cs typeface="Arial" charset="0"/>
                </a:defRPr>
              </a:lvl3pPr>
              <a:lvl4pPr marL="1600200" indent="-228600">
                <a:defRPr sz="1400" b="1">
                  <a:solidFill>
                    <a:schemeClr val="tx1"/>
                  </a:solidFill>
                  <a:latin typeface="Arial" charset="0"/>
                  <a:cs typeface="Arial" charset="0"/>
                </a:defRPr>
              </a:lvl4pPr>
              <a:lvl5pPr marL="2057400" indent="-228600">
                <a:defRPr sz="1400" b="1">
                  <a:solidFill>
                    <a:schemeClr val="tx1"/>
                  </a:solidFill>
                  <a:latin typeface="Arial" charset="0"/>
                  <a:cs typeface="Arial" charset="0"/>
                </a:defRPr>
              </a:lvl5pPr>
              <a:lvl6pPr marL="2514600" indent="-228600" eaLnBrk="0" fontAlgn="base" hangingPunct="0">
                <a:spcBef>
                  <a:spcPct val="0"/>
                </a:spcBef>
                <a:spcAft>
                  <a:spcPct val="0"/>
                </a:spcAft>
                <a:defRPr sz="1400" b="1">
                  <a:solidFill>
                    <a:schemeClr val="tx1"/>
                  </a:solidFill>
                  <a:latin typeface="Arial" charset="0"/>
                  <a:cs typeface="Arial" charset="0"/>
                </a:defRPr>
              </a:lvl6pPr>
              <a:lvl7pPr marL="2971800" indent="-228600" eaLnBrk="0" fontAlgn="base" hangingPunct="0">
                <a:spcBef>
                  <a:spcPct val="0"/>
                </a:spcBef>
                <a:spcAft>
                  <a:spcPct val="0"/>
                </a:spcAft>
                <a:defRPr sz="1400" b="1">
                  <a:solidFill>
                    <a:schemeClr val="tx1"/>
                  </a:solidFill>
                  <a:latin typeface="Arial" charset="0"/>
                  <a:cs typeface="Arial" charset="0"/>
                </a:defRPr>
              </a:lvl7pPr>
              <a:lvl8pPr marL="3429000" indent="-228600" eaLnBrk="0" fontAlgn="base" hangingPunct="0">
                <a:spcBef>
                  <a:spcPct val="0"/>
                </a:spcBef>
                <a:spcAft>
                  <a:spcPct val="0"/>
                </a:spcAft>
                <a:defRPr sz="1400" b="1">
                  <a:solidFill>
                    <a:schemeClr val="tx1"/>
                  </a:solidFill>
                  <a:latin typeface="Arial" charset="0"/>
                  <a:cs typeface="Arial" charset="0"/>
                </a:defRPr>
              </a:lvl8pPr>
              <a:lvl9pPr marL="3886200" indent="-228600" eaLnBrk="0" fontAlgn="base" hangingPunct="0">
                <a:spcBef>
                  <a:spcPct val="0"/>
                </a:spcBef>
                <a:spcAft>
                  <a:spcPct val="0"/>
                </a:spcAft>
                <a:defRPr sz="1400" b="1">
                  <a:solidFill>
                    <a:schemeClr val="tx1"/>
                  </a:solidFill>
                  <a:latin typeface="Arial" charset="0"/>
                  <a:cs typeface="Arial" charset="0"/>
                </a:defRPr>
              </a:lvl9pPr>
            </a:lstStyle>
            <a:p>
              <a:pPr eaLnBrk="1" hangingPunct="1"/>
              <a:endParaRPr kumimoji="1" lang="ja-JP" altLang="ja-JP" sz="1800">
                <a:latin typeface="Times New Roman" pitchFamily="18" charset="0"/>
                <a:ea typeface="ＭＳ Ｐゴシック" pitchFamily="50" charset="-128"/>
              </a:endParaRPr>
            </a:p>
          </p:txBody>
        </p:sp>
        <p:sp>
          <p:nvSpPr>
            <p:cNvPr id="46108" name="AutoShape 270"/>
            <p:cNvSpPr>
              <a:spLocks noChangeArrowheads="1"/>
            </p:cNvSpPr>
            <p:nvPr/>
          </p:nvSpPr>
          <p:spPr bwMode="auto">
            <a:xfrm>
              <a:off x="4368" y="1008"/>
              <a:ext cx="1296" cy="807"/>
            </a:xfrm>
            <a:prstGeom prst="flowChartDocument">
              <a:avLst/>
            </a:prstGeom>
            <a:solidFill>
              <a:srgbClr val="DDDDDD"/>
            </a:solidFill>
            <a:ln w="9525">
              <a:miter lim="800000"/>
              <a:headEnd/>
              <a:tailEnd/>
            </a:ln>
            <a:scene3d>
              <a:camera prst="legacyObliqueTopRight"/>
              <a:lightRig rig="legacyFlat3" dir="b"/>
            </a:scene3d>
            <a:sp3d extrusionH="125400" prstMaterial="legacyMatte">
              <a:bevelT w="13500" h="13500" prst="angle"/>
              <a:bevelB w="13500" h="13500" prst="angle"/>
              <a:extrusionClr>
                <a:srgbClr val="FFFFFF"/>
              </a:extrusionClr>
            </a:sp3d>
          </p:spPr>
          <p:txBody>
            <a:bodyPr lIns="72000" tIns="72000" rIns="72000" bIns="72000">
              <a:spAutoFit/>
              <a:flatTx/>
            </a:bodyPr>
            <a:lstStyle>
              <a:lvl1pPr marL="190500" indent="-190500">
                <a:defRPr sz="1400" b="1">
                  <a:solidFill>
                    <a:schemeClr val="tx1"/>
                  </a:solidFill>
                  <a:latin typeface="Arial" charset="0"/>
                  <a:cs typeface="Arial" charset="0"/>
                </a:defRPr>
              </a:lvl1pPr>
              <a:lvl2pPr marL="742950" indent="-285750">
                <a:defRPr sz="1400" b="1">
                  <a:solidFill>
                    <a:schemeClr val="tx1"/>
                  </a:solidFill>
                  <a:latin typeface="Arial" charset="0"/>
                  <a:cs typeface="Arial" charset="0"/>
                </a:defRPr>
              </a:lvl2pPr>
              <a:lvl3pPr marL="1143000" indent="-228600">
                <a:defRPr sz="1400" b="1">
                  <a:solidFill>
                    <a:schemeClr val="tx1"/>
                  </a:solidFill>
                  <a:latin typeface="Arial" charset="0"/>
                  <a:cs typeface="Arial" charset="0"/>
                </a:defRPr>
              </a:lvl3pPr>
              <a:lvl4pPr marL="1600200" indent="-228600">
                <a:defRPr sz="1400" b="1">
                  <a:solidFill>
                    <a:schemeClr val="tx1"/>
                  </a:solidFill>
                  <a:latin typeface="Arial" charset="0"/>
                  <a:cs typeface="Arial" charset="0"/>
                </a:defRPr>
              </a:lvl4pPr>
              <a:lvl5pPr marL="2057400" indent="-228600">
                <a:defRPr sz="1400" b="1">
                  <a:solidFill>
                    <a:schemeClr val="tx1"/>
                  </a:solidFill>
                  <a:latin typeface="Arial" charset="0"/>
                  <a:cs typeface="Arial" charset="0"/>
                </a:defRPr>
              </a:lvl5pPr>
              <a:lvl6pPr marL="2514600" indent="-228600" eaLnBrk="0" fontAlgn="base" hangingPunct="0">
                <a:spcBef>
                  <a:spcPct val="0"/>
                </a:spcBef>
                <a:spcAft>
                  <a:spcPct val="0"/>
                </a:spcAft>
                <a:defRPr sz="1400" b="1">
                  <a:solidFill>
                    <a:schemeClr val="tx1"/>
                  </a:solidFill>
                  <a:latin typeface="Arial" charset="0"/>
                  <a:cs typeface="Arial" charset="0"/>
                </a:defRPr>
              </a:lvl6pPr>
              <a:lvl7pPr marL="2971800" indent="-228600" eaLnBrk="0" fontAlgn="base" hangingPunct="0">
                <a:spcBef>
                  <a:spcPct val="0"/>
                </a:spcBef>
                <a:spcAft>
                  <a:spcPct val="0"/>
                </a:spcAft>
                <a:defRPr sz="1400" b="1">
                  <a:solidFill>
                    <a:schemeClr val="tx1"/>
                  </a:solidFill>
                  <a:latin typeface="Arial" charset="0"/>
                  <a:cs typeface="Arial" charset="0"/>
                </a:defRPr>
              </a:lvl7pPr>
              <a:lvl8pPr marL="3429000" indent="-228600" eaLnBrk="0" fontAlgn="base" hangingPunct="0">
                <a:spcBef>
                  <a:spcPct val="0"/>
                </a:spcBef>
                <a:spcAft>
                  <a:spcPct val="0"/>
                </a:spcAft>
                <a:defRPr sz="1400" b="1">
                  <a:solidFill>
                    <a:schemeClr val="tx1"/>
                  </a:solidFill>
                  <a:latin typeface="Arial" charset="0"/>
                  <a:cs typeface="Arial" charset="0"/>
                </a:defRPr>
              </a:lvl8pPr>
              <a:lvl9pPr marL="3886200" indent="-228600" eaLnBrk="0" fontAlgn="base" hangingPunct="0">
                <a:spcBef>
                  <a:spcPct val="0"/>
                </a:spcBef>
                <a:spcAft>
                  <a:spcPct val="0"/>
                </a:spcAft>
                <a:defRPr sz="1400" b="1">
                  <a:solidFill>
                    <a:schemeClr val="tx1"/>
                  </a:solidFill>
                  <a:latin typeface="Arial" charset="0"/>
                  <a:cs typeface="Arial" charset="0"/>
                </a:defRPr>
              </a:lvl9pPr>
            </a:lstStyle>
            <a:p>
              <a:pPr eaLnBrk="1" hangingPunct="1">
                <a:lnSpc>
                  <a:spcPct val="80000"/>
                </a:lnSpc>
                <a:spcBef>
                  <a:spcPct val="40000"/>
                </a:spcBef>
                <a:buFontTx/>
                <a:buChar char="•"/>
              </a:pPr>
              <a:r>
                <a:rPr kumimoji="1" lang="en-US" altLang="ja-JP" sz="1600">
                  <a:solidFill>
                    <a:srgbClr val="000000"/>
                  </a:solidFill>
                  <a:latin typeface="Times New Roman" pitchFamily="18" charset="0"/>
                  <a:ea typeface="ＭＳ Ｐゴシック" pitchFamily="50" charset="-128"/>
                </a:rPr>
                <a:t>Machine condition data</a:t>
              </a:r>
            </a:p>
            <a:p>
              <a:pPr eaLnBrk="1" hangingPunct="1">
                <a:lnSpc>
                  <a:spcPct val="80000"/>
                </a:lnSpc>
                <a:spcBef>
                  <a:spcPct val="40000"/>
                </a:spcBef>
                <a:buFontTx/>
                <a:buChar char="•"/>
              </a:pPr>
              <a:r>
                <a:rPr kumimoji="1" lang="en-US" altLang="ja-JP" sz="1600">
                  <a:solidFill>
                    <a:srgbClr val="000000"/>
                  </a:solidFill>
                  <a:latin typeface="Times New Roman" pitchFamily="18" charset="0"/>
                  <a:ea typeface="ＭＳ Ｐゴシック" pitchFamily="50" charset="-128"/>
                </a:rPr>
                <a:t>Machine operation data</a:t>
              </a:r>
            </a:p>
          </p:txBody>
        </p:sp>
      </p:grpSp>
      <p:grpSp>
        <p:nvGrpSpPr>
          <p:cNvPr id="4" name="Group 340"/>
          <p:cNvGrpSpPr>
            <a:grpSpLocks noChangeAspect="1"/>
          </p:cNvGrpSpPr>
          <p:nvPr/>
        </p:nvGrpSpPr>
        <p:grpSpPr bwMode="auto">
          <a:xfrm>
            <a:off x="4071938" y="4092575"/>
            <a:ext cx="4999037" cy="2293938"/>
            <a:chOff x="2521" y="2544"/>
            <a:chExt cx="3246" cy="1490"/>
          </a:xfrm>
        </p:grpSpPr>
        <p:pic>
          <p:nvPicPr>
            <p:cNvPr id="46094" name="Picture 335" descr="037_TM Severity"/>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2521" y="2640"/>
              <a:ext cx="1056" cy="720"/>
            </a:xfrm>
            <a:prstGeom prst="rect">
              <a:avLst/>
            </a:prstGeom>
            <a:noFill/>
            <a:ln w="12700">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46095" name="Picture 331" descr="037_Engine Severity"/>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3049" y="2976"/>
              <a:ext cx="1056" cy="720"/>
            </a:xfrm>
            <a:prstGeom prst="rect">
              <a:avLst/>
            </a:prstGeom>
            <a:noFill/>
            <a:ln w="12700">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46096" name="Picture 333" descr="037_Payload Data"/>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3577" y="3312"/>
              <a:ext cx="1056" cy="720"/>
            </a:xfrm>
            <a:prstGeom prst="rect">
              <a:avLst/>
            </a:prstGeom>
            <a:noFill/>
            <a:ln w="12700">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46097" name="Picture 330" descr="037_At Distributor"/>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4639" y="3120"/>
              <a:ext cx="1025" cy="768"/>
            </a:xfrm>
            <a:prstGeom prst="rect">
              <a:avLst/>
            </a:prstGeom>
            <a:noFill/>
            <a:ln w="12700">
              <a:solidFill>
                <a:srgbClr val="000000"/>
              </a:solidFill>
              <a:miter lim="800000"/>
              <a:headEnd/>
              <a:tailEnd/>
            </a:ln>
            <a:extLst>
              <a:ext uri="{909E8E84-426E-40DD-AFC4-6F175D3DCCD1}">
                <a14:hiddenFill xmlns:a14="http://schemas.microsoft.com/office/drawing/2010/main">
                  <a:solidFill>
                    <a:srgbClr val="FFFFFF"/>
                  </a:solidFill>
                </a14:hiddenFill>
              </a:ext>
            </a:extLst>
          </p:spPr>
        </p:pic>
        <p:sp>
          <p:nvSpPr>
            <p:cNvPr id="46098" name="Text Box 287"/>
            <p:cNvSpPr txBox="1">
              <a:spLocks noChangeArrowheads="1"/>
            </p:cNvSpPr>
            <p:nvPr/>
          </p:nvSpPr>
          <p:spPr bwMode="auto">
            <a:xfrm>
              <a:off x="4512" y="2959"/>
              <a:ext cx="310" cy="1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36000" rIns="0" bIns="36000">
              <a:spAutoFit/>
            </a:bodyPr>
            <a:lstStyle>
              <a:lvl1pPr>
                <a:defRPr sz="1400" b="1">
                  <a:solidFill>
                    <a:schemeClr val="tx1"/>
                  </a:solidFill>
                  <a:latin typeface="Arial" charset="0"/>
                  <a:cs typeface="Arial" charset="0"/>
                </a:defRPr>
              </a:lvl1pPr>
              <a:lvl2pPr marL="742950" indent="-285750">
                <a:defRPr sz="1400" b="1">
                  <a:solidFill>
                    <a:schemeClr val="tx1"/>
                  </a:solidFill>
                  <a:latin typeface="Arial" charset="0"/>
                  <a:cs typeface="Arial" charset="0"/>
                </a:defRPr>
              </a:lvl2pPr>
              <a:lvl3pPr marL="1143000" indent="-228600">
                <a:defRPr sz="1400" b="1">
                  <a:solidFill>
                    <a:schemeClr val="tx1"/>
                  </a:solidFill>
                  <a:latin typeface="Arial" charset="0"/>
                  <a:cs typeface="Arial" charset="0"/>
                </a:defRPr>
              </a:lvl3pPr>
              <a:lvl4pPr marL="1600200" indent="-228600">
                <a:defRPr sz="1400" b="1">
                  <a:solidFill>
                    <a:schemeClr val="tx1"/>
                  </a:solidFill>
                  <a:latin typeface="Arial" charset="0"/>
                  <a:cs typeface="Arial" charset="0"/>
                </a:defRPr>
              </a:lvl4pPr>
              <a:lvl5pPr marL="2057400" indent="-228600">
                <a:defRPr sz="1400" b="1">
                  <a:solidFill>
                    <a:schemeClr val="tx1"/>
                  </a:solidFill>
                  <a:latin typeface="Arial" charset="0"/>
                  <a:cs typeface="Arial" charset="0"/>
                </a:defRPr>
              </a:lvl5pPr>
              <a:lvl6pPr marL="2514600" indent="-228600" eaLnBrk="0" fontAlgn="base" hangingPunct="0">
                <a:spcBef>
                  <a:spcPct val="0"/>
                </a:spcBef>
                <a:spcAft>
                  <a:spcPct val="0"/>
                </a:spcAft>
                <a:defRPr sz="1400" b="1">
                  <a:solidFill>
                    <a:schemeClr val="tx1"/>
                  </a:solidFill>
                  <a:latin typeface="Arial" charset="0"/>
                  <a:cs typeface="Arial" charset="0"/>
                </a:defRPr>
              </a:lvl6pPr>
              <a:lvl7pPr marL="2971800" indent="-228600" eaLnBrk="0" fontAlgn="base" hangingPunct="0">
                <a:spcBef>
                  <a:spcPct val="0"/>
                </a:spcBef>
                <a:spcAft>
                  <a:spcPct val="0"/>
                </a:spcAft>
                <a:defRPr sz="1400" b="1">
                  <a:solidFill>
                    <a:schemeClr val="tx1"/>
                  </a:solidFill>
                  <a:latin typeface="Arial" charset="0"/>
                  <a:cs typeface="Arial" charset="0"/>
                </a:defRPr>
              </a:lvl7pPr>
              <a:lvl8pPr marL="3429000" indent="-228600" eaLnBrk="0" fontAlgn="base" hangingPunct="0">
                <a:spcBef>
                  <a:spcPct val="0"/>
                </a:spcBef>
                <a:spcAft>
                  <a:spcPct val="0"/>
                </a:spcAft>
                <a:defRPr sz="1400" b="1">
                  <a:solidFill>
                    <a:schemeClr val="tx1"/>
                  </a:solidFill>
                  <a:latin typeface="Arial" charset="0"/>
                  <a:cs typeface="Arial" charset="0"/>
                </a:defRPr>
              </a:lvl8pPr>
              <a:lvl9pPr marL="3886200" indent="-228600" eaLnBrk="0" fontAlgn="base" hangingPunct="0">
                <a:spcBef>
                  <a:spcPct val="0"/>
                </a:spcBef>
                <a:spcAft>
                  <a:spcPct val="0"/>
                </a:spcAft>
                <a:defRPr sz="1400" b="1">
                  <a:solidFill>
                    <a:schemeClr val="tx1"/>
                  </a:solidFill>
                  <a:latin typeface="Arial" charset="0"/>
                  <a:cs typeface="Arial" charset="0"/>
                </a:defRPr>
              </a:lvl9pPr>
            </a:lstStyle>
            <a:p>
              <a:pPr eaLnBrk="1" hangingPunct="1">
                <a:lnSpc>
                  <a:spcPct val="90000"/>
                </a:lnSpc>
              </a:pPr>
              <a:r>
                <a:rPr kumimoji="1" lang="en-US" altLang="ja-JP" sz="1200" b="0">
                  <a:solidFill>
                    <a:srgbClr val="FF6600"/>
                  </a:solidFill>
                  <a:latin typeface="Times New Roman" pitchFamily="18" charset="0"/>
                  <a:ea typeface="ＭＳ Ｐゴシック" pitchFamily="50" charset="-128"/>
                </a:rPr>
                <a:t>Internet</a:t>
              </a:r>
            </a:p>
          </p:txBody>
        </p:sp>
        <p:sp>
          <p:nvSpPr>
            <p:cNvPr id="46099" name="Text Box 289"/>
            <p:cNvSpPr txBox="1">
              <a:spLocks noChangeArrowheads="1"/>
            </p:cNvSpPr>
            <p:nvPr/>
          </p:nvSpPr>
          <p:spPr bwMode="gray">
            <a:xfrm>
              <a:off x="2521" y="2640"/>
              <a:ext cx="624" cy="13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lIns="36000" tIns="36000" rIns="36000" bIns="36000">
              <a:spAutoFit/>
            </a:bodyPr>
            <a:lstStyle>
              <a:lvl1pPr>
                <a:defRPr sz="1400" b="1">
                  <a:solidFill>
                    <a:schemeClr val="tx1"/>
                  </a:solidFill>
                  <a:latin typeface="Arial" charset="0"/>
                  <a:cs typeface="Arial" charset="0"/>
                </a:defRPr>
              </a:lvl1pPr>
              <a:lvl2pPr marL="742950" indent="-285750">
                <a:defRPr sz="1400" b="1">
                  <a:solidFill>
                    <a:schemeClr val="tx1"/>
                  </a:solidFill>
                  <a:latin typeface="Arial" charset="0"/>
                  <a:cs typeface="Arial" charset="0"/>
                </a:defRPr>
              </a:lvl2pPr>
              <a:lvl3pPr marL="1143000" indent="-228600">
                <a:defRPr sz="1400" b="1">
                  <a:solidFill>
                    <a:schemeClr val="tx1"/>
                  </a:solidFill>
                  <a:latin typeface="Arial" charset="0"/>
                  <a:cs typeface="Arial" charset="0"/>
                </a:defRPr>
              </a:lvl3pPr>
              <a:lvl4pPr marL="1600200" indent="-228600">
                <a:defRPr sz="1400" b="1">
                  <a:solidFill>
                    <a:schemeClr val="tx1"/>
                  </a:solidFill>
                  <a:latin typeface="Arial" charset="0"/>
                  <a:cs typeface="Arial" charset="0"/>
                </a:defRPr>
              </a:lvl4pPr>
              <a:lvl5pPr marL="2057400" indent="-228600">
                <a:defRPr sz="1400" b="1">
                  <a:solidFill>
                    <a:schemeClr val="tx1"/>
                  </a:solidFill>
                  <a:latin typeface="Arial" charset="0"/>
                  <a:cs typeface="Arial" charset="0"/>
                </a:defRPr>
              </a:lvl5pPr>
              <a:lvl6pPr marL="2514600" indent="-228600" eaLnBrk="0" fontAlgn="base" hangingPunct="0">
                <a:spcBef>
                  <a:spcPct val="0"/>
                </a:spcBef>
                <a:spcAft>
                  <a:spcPct val="0"/>
                </a:spcAft>
                <a:defRPr sz="1400" b="1">
                  <a:solidFill>
                    <a:schemeClr val="tx1"/>
                  </a:solidFill>
                  <a:latin typeface="Arial" charset="0"/>
                  <a:cs typeface="Arial" charset="0"/>
                </a:defRPr>
              </a:lvl6pPr>
              <a:lvl7pPr marL="2971800" indent="-228600" eaLnBrk="0" fontAlgn="base" hangingPunct="0">
                <a:spcBef>
                  <a:spcPct val="0"/>
                </a:spcBef>
                <a:spcAft>
                  <a:spcPct val="0"/>
                </a:spcAft>
                <a:defRPr sz="1400" b="1">
                  <a:solidFill>
                    <a:schemeClr val="tx1"/>
                  </a:solidFill>
                  <a:latin typeface="Arial" charset="0"/>
                  <a:cs typeface="Arial" charset="0"/>
                </a:defRPr>
              </a:lvl7pPr>
              <a:lvl8pPr marL="3429000" indent="-228600" eaLnBrk="0" fontAlgn="base" hangingPunct="0">
                <a:spcBef>
                  <a:spcPct val="0"/>
                </a:spcBef>
                <a:spcAft>
                  <a:spcPct val="0"/>
                </a:spcAft>
                <a:defRPr sz="1400" b="1">
                  <a:solidFill>
                    <a:schemeClr val="tx1"/>
                  </a:solidFill>
                  <a:latin typeface="Arial" charset="0"/>
                  <a:cs typeface="Arial" charset="0"/>
                </a:defRPr>
              </a:lvl8pPr>
              <a:lvl9pPr marL="3886200" indent="-228600" eaLnBrk="0" fontAlgn="base" hangingPunct="0">
                <a:spcBef>
                  <a:spcPct val="0"/>
                </a:spcBef>
                <a:spcAft>
                  <a:spcPct val="0"/>
                </a:spcAft>
                <a:defRPr sz="1400" b="1">
                  <a:solidFill>
                    <a:schemeClr val="tx1"/>
                  </a:solidFill>
                  <a:latin typeface="Arial" charset="0"/>
                  <a:cs typeface="Arial" charset="0"/>
                </a:defRPr>
              </a:lvl9pPr>
            </a:lstStyle>
            <a:p>
              <a:pPr eaLnBrk="1" hangingPunct="1">
                <a:lnSpc>
                  <a:spcPct val="80000"/>
                </a:lnSpc>
              </a:pPr>
              <a:r>
                <a:rPr kumimoji="1" lang="en-US" altLang="ja-JP" sz="1100" b="0">
                  <a:solidFill>
                    <a:srgbClr val="000066"/>
                  </a:solidFill>
                  <a:latin typeface="Times New Roman" pitchFamily="18" charset="0"/>
                  <a:ea typeface="ＭＳ Ｐゴシック" pitchFamily="50" charset="-128"/>
                </a:rPr>
                <a:t>T/M Severity</a:t>
              </a:r>
            </a:p>
          </p:txBody>
        </p:sp>
        <p:sp>
          <p:nvSpPr>
            <p:cNvPr id="46100" name="Text Box 290"/>
            <p:cNvSpPr txBox="1">
              <a:spLocks noChangeArrowheads="1"/>
            </p:cNvSpPr>
            <p:nvPr/>
          </p:nvSpPr>
          <p:spPr bwMode="gray">
            <a:xfrm>
              <a:off x="3049" y="2976"/>
              <a:ext cx="768" cy="13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lIns="36000" tIns="36000" rIns="36000" bIns="36000">
              <a:spAutoFit/>
            </a:bodyPr>
            <a:lstStyle>
              <a:lvl1pPr>
                <a:defRPr sz="1400" b="1">
                  <a:solidFill>
                    <a:schemeClr val="tx1"/>
                  </a:solidFill>
                  <a:latin typeface="Arial" charset="0"/>
                  <a:cs typeface="Arial" charset="0"/>
                </a:defRPr>
              </a:lvl1pPr>
              <a:lvl2pPr marL="742950" indent="-285750">
                <a:defRPr sz="1400" b="1">
                  <a:solidFill>
                    <a:schemeClr val="tx1"/>
                  </a:solidFill>
                  <a:latin typeface="Arial" charset="0"/>
                  <a:cs typeface="Arial" charset="0"/>
                </a:defRPr>
              </a:lvl2pPr>
              <a:lvl3pPr marL="1143000" indent="-228600">
                <a:defRPr sz="1400" b="1">
                  <a:solidFill>
                    <a:schemeClr val="tx1"/>
                  </a:solidFill>
                  <a:latin typeface="Arial" charset="0"/>
                  <a:cs typeface="Arial" charset="0"/>
                </a:defRPr>
              </a:lvl3pPr>
              <a:lvl4pPr marL="1600200" indent="-228600">
                <a:defRPr sz="1400" b="1">
                  <a:solidFill>
                    <a:schemeClr val="tx1"/>
                  </a:solidFill>
                  <a:latin typeface="Arial" charset="0"/>
                  <a:cs typeface="Arial" charset="0"/>
                </a:defRPr>
              </a:lvl4pPr>
              <a:lvl5pPr marL="2057400" indent="-228600">
                <a:defRPr sz="1400" b="1">
                  <a:solidFill>
                    <a:schemeClr val="tx1"/>
                  </a:solidFill>
                  <a:latin typeface="Arial" charset="0"/>
                  <a:cs typeface="Arial" charset="0"/>
                </a:defRPr>
              </a:lvl5pPr>
              <a:lvl6pPr marL="2514600" indent="-228600" eaLnBrk="0" fontAlgn="base" hangingPunct="0">
                <a:spcBef>
                  <a:spcPct val="0"/>
                </a:spcBef>
                <a:spcAft>
                  <a:spcPct val="0"/>
                </a:spcAft>
                <a:defRPr sz="1400" b="1">
                  <a:solidFill>
                    <a:schemeClr val="tx1"/>
                  </a:solidFill>
                  <a:latin typeface="Arial" charset="0"/>
                  <a:cs typeface="Arial" charset="0"/>
                </a:defRPr>
              </a:lvl6pPr>
              <a:lvl7pPr marL="2971800" indent="-228600" eaLnBrk="0" fontAlgn="base" hangingPunct="0">
                <a:spcBef>
                  <a:spcPct val="0"/>
                </a:spcBef>
                <a:spcAft>
                  <a:spcPct val="0"/>
                </a:spcAft>
                <a:defRPr sz="1400" b="1">
                  <a:solidFill>
                    <a:schemeClr val="tx1"/>
                  </a:solidFill>
                  <a:latin typeface="Arial" charset="0"/>
                  <a:cs typeface="Arial" charset="0"/>
                </a:defRPr>
              </a:lvl7pPr>
              <a:lvl8pPr marL="3429000" indent="-228600" eaLnBrk="0" fontAlgn="base" hangingPunct="0">
                <a:spcBef>
                  <a:spcPct val="0"/>
                </a:spcBef>
                <a:spcAft>
                  <a:spcPct val="0"/>
                </a:spcAft>
                <a:defRPr sz="1400" b="1">
                  <a:solidFill>
                    <a:schemeClr val="tx1"/>
                  </a:solidFill>
                  <a:latin typeface="Arial" charset="0"/>
                  <a:cs typeface="Arial" charset="0"/>
                </a:defRPr>
              </a:lvl8pPr>
              <a:lvl9pPr marL="3886200" indent="-228600" eaLnBrk="0" fontAlgn="base" hangingPunct="0">
                <a:spcBef>
                  <a:spcPct val="0"/>
                </a:spcBef>
                <a:spcAft>
                  <a:spcPct val="0"/>
                </a:spcAft>
                <a:defRPr sz="1400" b="1">
                  <a:solidFill>
                    <a:schemeClr val="tx1"/>
                  </a:solidFill>
                  <a:latin typeface="Arial" charset="0"/>
                  <a:cs typeface="Arial" charset="0"/>
                </a:defRPr>
              </a:lvl9pPr>
            </a:lstStyle>
            <a:p>
              <a:pPr eaLnBrk="1" hangingPunct="1">
                <a:lnSpc>
                  <a:spcPct val="80000"/>
                </a:lnSpc>
              </a:pPr>
              <a:r>
                <a:rPr kumimoji="1" lang="en-US" altLang="ja-JP" sz="1100" b="0">
                  <a:solidFill>
                    <a:srgbClr val="000066"/>
                  </a:solidFill>
                  <a:latin typeface="Times New Roman" pitchFamily="18" charset="0"/>
                  <a:ea typeface="ＭＳ Ｐゴシック" pitchFamily="50" charset="-128"/>
                </a:rPr>
                <a:t>Engine Severity</a:t>
              </a:r>
            </a:p>
          </p:txBody>
        </p:sp>
        <p:sp>
          <p:nvSpPr>
            <p:cNvPr id="46101" name="Text Box 291"/>
            <p:cNvSpPr txBox="1">
              <a:spLocks noChangeArrowheads="1"/>
            </p:cNvSpPr>
            <p:nvPr/>
          </p:nvSpPr>
          <p:spPr bwMode="gray">
            <a:xfrm>
              <a:off x="3577" y="3312"/>
              <a:ext cx="672" cy="13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lIns="36000" tIns="36000" rIns="36000" bIns="36000">
              <a:spAutoFit/>
            </a:bodyPr>
            <a:lstStyle>
              <a:lvl1pPr>
                <a:defRPr sz="1400" b="1">
                  <a:solidFill>
                    <a:schemeClr val="tx1"/>
                  </a:solidFill>
                  <a:latin typeface="Arial" charset="0"/>
                  <a:cs typeface="Arial" charset="0"/>
                </a:defRPr>
              </a:lvl1pPr>
              <a:lvl2pPr marL="742950" indent="-285750">
                <a:defRPr sz="1400" b="1">
                  <a:solidFill>
                    <a:schemeClr val="tx1"/>
                  </a:solidFill>
                  <a:latin typeface="Arial" charset="0"/>
                  <a:cs typeface="Arial" charset="0"/>
                </a:defRPr>
              </a:lvl2pPr>
              <a:lvl3pPr marL="1143000" indent="-228600">
                <a:defRPr sz="1400" b="1">
                  <a:solidFill>
                    <a:schemeClr val="tx1"/>
                  </a:solidFill>
                  <a:latin typeface="Arial" charset="0"/>
                  <a:cs typeface="Arial" charset="0"/>
                </a:defRPr>
              </a:lvl3pPr>
              <a:lvl4pPr marL="1600200" indent="-228600">
                <a:defRPr sz="1400" b="1">
                  <a:solidFill>
                    <a:schemeClr val="tx1"/>
                  </a:solidFill>
                  <a:latin typeface="Arial" charset="0"/>
                  <a:cs typeface="Arial" charset="0"/>
                </a:defRPr>
              </a:lvl4pPr>
              <a:lvl5pPr marL="2057400" indent="-228600">
                <a:defRPr sz="1400" b="1">
                  <a:solidFill>
                    <a:schemeClr val="tx1"/>
                  </a:solidFill>
                  <a:latin typeface="Arial" charset="0"/>
                  <a:cs typeface="Arial" charset="0"/>
                </a:defRPr>
              </a:lvl5pPr>
              <a:lvl6pPr marL="2514600" indent="-228600" eaLnBrk="0" fontAlgn="base" hangingPunct="0">
                <a:spcBef>
                  <a:spcPct val="0"/>
                </a:spcBef>
                <a:spcAft>
                  <a:spcPct val="0"/>
                </a:spcAft>
                <a:defRPr sz="1400" b="1">
                  <a:solidFill>
                    <a:schemeClr val="tx1"/>
                  </a:solidFill>
                  <a:latin typeface="Arial" charset="0"/>
                  <a:cs typeface="Arial" charset="0"/>
                </a:defRPr>
              </a:lvl6pPr>
              <a:lvl7pPr marL="2971800" indent="-228600" eaLnBrk="0" fontAlgn="base" hangingPunct="0">
                <a:spcBef>
                  <a:spcPct val="0"/>
                </a:spcBef>
                <a:spcAft>
                  <a:spcPct val="0"/>
                </a:spcAft>
                <a:defRPr sz="1400" b="1">
                  <a:solidFill>
                    <a:schemeClr val="tx1"/>
                  </a:solidFill>
                  <a:latin typeface="Arial" charset="0"/>
                  <a:cs typeface="Arial" charset="0"/>
                </a:defRPr>
              </a:lvl7pPr>
              <a:lvl8pPr marL="3429000" indent="-228600" eaLnBrk="0" fontAlgn="base" hangingPunct="0">
                <a:spcBef>
                  <a:spcPct val="0"/>
                </a:spcBef>
                <a:spcAft>
                  <a:spcPct val="0"/>
                </a:spcAft>
                <a:defRPr sz="1400" b="1">
                  <a:solidFill>
                    <a:schemeClr val="tx1"/>
                  </a:solidFill>
                  <a:latin typeface="Arial" charset="0"/>
                  <a:cs typeface="Arial" charset="0"/>
                </a:defRPr>
              </a:lvl8pPr>
              <a:lvl9pPr marL="3886200" indent="-228600" eaLnBrk="0" fontAlgn="base" hangingPunct="0">
                <a:spcBef>
                  <a:spcPct val="0"/>
                </a:spcBef>
                <a:spcAft>
                  <a:spcPct val="0"/>
                </a:spcAft>
                <a:defRPr sz="1400" b="1">
                  <a:solidFill>
                    <a:schemeClr val="tx1"/>
                  </a:solidFill>
                  <a:latin typeface="Arial" charset="0"/>
                  <a:cs typeface="Arial" charset="0"/>
                </a:defRPr>
              </a:lvl9pPr>
            </a:lstStyle>
            <a:p>
              <a:pPr eaLnBrk="1" hangingPunct="1">
                <a:lnSpc>
                  <a:spcPct val="80000"/>
                </a:lnSpc>
              </a:pPr>
              <a:r>
                <a:rPr kumimoji="1" lang="en-US" altLang="ja-JP" sz="1100" b="0">
                  <a:solidFill>
                    <a:srgbClr val="000066"/>
                  </a:solidFill>
                  <a:latin typeface="Times New Roman" pitchFamily="18" charset="0"/>
                  <a:ea typeface="ＭＳ Ｐゴシック" pitchFamily="50" charset="-128"/>
                </a:rPr>
                <a:t>Payload Data</a:t>
              </a:r>
            </a:p>
          </p:txBody>
        </p:sp>
        <p:sp>
          <p:nvSpPr>
            <p:cNvPr id="46102" name="Text Box 293"/>
            <p:cNvSpPr txBox="1">
              <a:spLocks noChangeArrowheads="1"/>
            </p:cNvSpPr>
            <p:nvPr/>
          </p:nvSpPr>
          <p:spPr bwMode="auto">
            <a:xfrm>
              <a:off x="5155" y="3936"/>
              <a:ext cx="509" cy="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sz="1400" b="1">
                  <a:solidFill>
                    <a:schemeClr val="tx1"/>
                  </a:solidFill>
                  <a:latin typeface="Arial" charset="0"/>
                  <a:cs typeface="Arial" charset="0"/>
                </a:defRPr>
              </a:lvl1pPr>
              <a:lvl2pPr marL="742950" indent="-285750">
                <a:defRPr sz="1400" b="1">
                  <a:solidFill>
                    <a:schemeClr val="tx1"/>
                  </a:solidFill>
                  <a:latin typeface="Arial" charset="0"/>
                  <a:cs typeface="Arial" charset="0"/>
                </a:defRPr>
              </a:lvl2pPr>
              <a:lvl3pPr marL="1143000" indent="-228600">
                <a:defRPr sz="1400" b="1">
                  <a:solidFill>
                    <a:schemeClr val="tx1"/>
                  </a:solidFill>
                  <a:latin typeface="Arial" charset="0"/>
                  <a:cs typeface="Arial" charset="0"/>
                </a:defRPr>
              </a:lvl3pPr>
              <a:lvl4pPr marL="1600200" indent="-228600">
                <a:defRPr sz="1400" b="1">
                  <a:solidFill>
                    <a:schemeClr val="tx1"/>
                  </a:solidFill>
                  <a:latin typeface="Arial" charset="0"/>
                  <a:cs typeface="Arial" charset="0"/>
                </a:defRPr>
              </a:lvl4pPr>
              <a:lvl5pPr marL="2057400" indent="-228600">
                <a:defRPr sz="1400" b="1">
                  <a:solidFill>
                    <a:schemeClr val="tx1"/>
                  </a:solidFill>
                  <a:latin typeface="Arial" charset="0"/>
                  <a:cs typeface="Arial" charset="0"/>
                </a:defRPr>
              </a:lvl5pPr>
              <a:lvl6pPr marL="2514600" indent="-228600" eaLnBrk="0" fontAlgn="base" hangingPunct="0">
                <a:spcBef>
                  <a:spcPct val="0"/>
                </a:spcBef>
                <a:spcAft>
                  <a:spcPct val="0"/>
                </a:spcAft>
                <a:defRPr sz="1400" b="1">
                  <a:solidFill>
                    <a:schemeClr val="tx1"/>
                  </a:solidFill>
                  <a:latin typeface="Arial" charset="0"/>
                  <a:cs typeface="Arial" charset="0"/>
                </a:defRPr>
              </a:lvl6pPr>
              <a:lvl7pPr marL="2971800" indent="-228600" eaLnBrk="0" fontAlgn="base" hangingPunct="0">
                <a:spcBef>
                  <a:spcPct val="0"/>
                </a:spcBef>
                <a:spcAft>
                  <a:spcPct val="0"/>
                </a:spcAft>
                <a:defRPr sz="1400" b="1">
                  <a:solidFill>
                    <a:schemeClr val="tx1"/>
                  </a:solidFill>
                  <a:latin typeface="Arial" charset="0"/>
                  <a:cs typeface="Arial" charset="0"/>
                </a:defRPr>
              </a:lvl7pPr>
              <a:lvl8pPr marL="3429000" indent="-228600" eaLnBrk="0" fontAlgn="base" hangingPunct="0">
                <a:spcBef>
                  <a:spcPct val="0"/>
                </a:spcBef>
                <a:spcAft>
                  <a:spcPct val="0"/>
                </a:spcAft>
                <a:defRPr sz="1400" b="1">
                  <a:solidFill>
                    <a:schemeClr val="tx1"/>
                  </a:solidFill>
                  <a:latin typeface="Arial" charset="0"/>
                  <a:cs typeface="Arial" charset="0"/>
                </a:defRPr>
              </a:lvl8pPr>
              <a:lvl9pPr marL="3886200" indent="-228600" eaLnBrk="0" fontAlgn="base" hangingPunct="0">
                <a:spcBef>
                  <a:spcPct val="0"/>
                </a:spcBef>
                <a:spcAft>
                  <a:spcPct val="0"/>
                </a:spcAft>
                <a:defRPr sz="1400" b="1">
                  <a:solidFill>
                    <a:schemeClr val="tx1"/>
                  </a:solidFill>
                  <a:latin typeface="Arial" charset="0"/>
                  <a:cs typeface="Arial" charset="0"/>
                </a:defRPr>
              </a:lvl9pPr>
            </a:lstStyle>
            <a:p>
              <a:pPr algn="r" eaLnBrk="1" hangingPunct="1">
                <a:lnSpc>
                  <a:spcPct val="90000"/>
                </a:lnSpc>
              </a:pPr>
              <a:r>
                <a:rPr kumimoji="1" lang="en-US" altLang="ja-JP" sz="1100" b="0">
                  <a:solidFill>
                    <a:srgbClr val="0E1271"/>
                  </a:solidFill>
                  <a:latin typeface="Times New Roman" pitchFamily="18" charset="0"/>
                  <a:ea typeface="ＭＳ Ｐゴシック" pitchFamily="50" charset="-128"/>
                </a:rPr>
                <a:t>At Distributor</a:t>
              </a:r>
            </a:p>
          </p:txBody>
        </p:sp>
        <p:cxnSp>
          <p:nvCxnSpPr>
            <p:cNvPr id="46103" name="AutoShape 321"/>
            <p:cNvCxnSpPr>
              <a:cxnSpLocks noChangeShapeType="1"/>
            </p:cNvCxnSpPr>
            <p:nvPr/>
          </p:nvCxnSpPr>
          <p:spPr bwMode="auto">
            <a:xfrm>
              <a:off x="4977" y="2837"/>
              <a:ext cx="113" cy="602"/>
            </a:xfrm>
            <a:prstGeom prst="straightConnector1">
              <a:avLst/>
            </a:prstGeom>
            <a:noFill/>
            <a:ln w="38100">
              <a:solidFill>
                <a:srgbClr val="FF6600"/>
              </a:solidFill>
              <a:prstDash val="sysDot"/>
              <a:round/>
              <a:headEnd/>
              <a:tailEnd/>
            </a:ln>
            <a:extLst>
              <a:ext uri="{909E8E84-426E-40DD-AFC4-6F175D3DCCD1}">
                <a14:hiddenFill xmlns:a14="http://schemas.microsoft.com/office/drawing/2010/main">
                  <a:noFill/>
                </a14:hiddenFill>
              </a:ext>
            </a:extLst>
          </p:spPr>
        </p:cxnSp>
        <p:sp>
          <p:nvSpPr>
            <p:cNvPr id="46104" name="Oval 273"/>
            <p:cNvSpPr>
              <a:spLocks noChangeArrowheads="1"/>
            </p:cNvSpPr>
            <p:nvPr/>
          </p:nvSpPr>
          <p:spPr bwMode="gray">
            <a:xfrm>
              <a:off x="4423" y="2544"/>
              <a:ext cx="1344" cy="453"/>
            </a:xfrm>
            <a:prstGeom prst="ellipse">
              <a:avLst/>
            </a:prstGeom>
            <a:solidFill>
              <a:srgbClr val="000099"/>
            </a:solidFill>
            <a:ln>
              <a:noFill/>
            </a:ln>
            <a:extLst>
              <a:ext uri="{91240B29-F687-4F45-9708-019B960494DF}">
                <a14:hiddenLine xmlns:a14="http://schemas.microsoft.com/office/drawing/2010/main" w="9525">
                  <a:solidFill>
                    <a:srgbClr val="000000"/>
                  </a:solidFill>
                  <a:round/>
                  <a:headEnd/>
                  <a:tailEnd/>
                </a14:hiddenLine>
              </a:ext>
            </a:extLst>
          </p:spPr>
          <p:txBody>
            <a:bodyPr wrap="none" lIns="90000" tIns="46800" rIns="90000" bIns="46800" anchor="ctr"/>
            <a:lstStyle>
              <a:lvl1pPr>
                <a:defRPr sz="1400" b="1">
                  <a:solidFill>
                    <a:schemeClr val="tx1"/>
                  </a:solidFill>
                  <a:latin typeface="Arial" charset="0"/>
                  <a:cs typeface="Arial" charset="0"/>
                </a:defRPr>
              </a:lvl1pPr>
              <a:lvl2pPr marL="742950" indent="-285750">
                <a:defRPr sz="1400" b="1">
                  <a:solidFill>
                    <a:schemeClr val="tx1"/>
                  </a:solidFill>
                  <a:latin typeface="Arial" charset="0"/>
                  <a:cs typeface="Arial" charset="0"/>
                </a:defRPr>
              </a:lvl2pPr>
              <a:lvl3pPr marL="1143000" indent="-228600">
                <a:defRPr sz="1400" b="1">
                  <a:solidFill>
                    <a:schemeClr val="tx1"/>
                  </a:solidFill>
                  <a:latin typeface="Arial" charset="0"/>
                  <a:cs typeface="Arial" charset="0"/>
                </a:defRPr>
              </a:lvl3pPr>
              <a:lvl4pPr marL="1600200" indent="-228600">
                <a:defRPr sz="1400" b="1">
                  <a:solidFill>
                    <a:schemeClr val="tx1"/>
                  </a:solidFill>
                  <a:latin typeface="Arial" charset="0"/>
                  <a:cs typeface="Arial" charset="0"/>
                </a:defRPr>
              </a:lvl4pPr>
              <a:lvl5pPr marL="2057400" indent="-228600">
                <a:defRPr sz="1400" b="1">
                  <a:solidFill>
                    <a:schemeClr val="tx1"/>
                  </a:solidFill>
                  <a:latin typeface="Arial" charset="0"/>
                  <a:cs typeface="Arial" charset="0"/>
                </a:defRPr>
              </a:lvl5pPr>
              <a:lvl6pPr marL="2514600" indent="-228600" eaLnBrk="0" fontAlgn="base" hangingPunct="0">
                <a:spcBef>
                  <a:spcPct val="0"/>
                </a:spcBef>
                <a:spcAft>
                  <a:spcPct val="0"/>
                </a:spcAft>
                <a:defRPr sz="1400" b="1">
                  <a:solidFill>
                    <a:schemeClr val="tx1"/>
                  </a:solidFill>
                  <a:latin typeface="Arial" charset="0"/>
                  <a:cs typeface="Arial" charset="0"/>
                </a:defRPr>
              </a:lvl6pPr>
              <a:lvl7pPr marL="2971800" indent="-228600" eaLnBrk="0" fontAlgn="base" hangingPunct="0">
                <a:spcBef>
                  <a:spcPct val="0"/>
                </a:spcBef>
                <a:spcAft>
                  <a:spcPct val="0"/>
                </a:spcAft>
                <a:defRPr sz="1400" b="1">
                  <a:solidFill>
                    <a:schemeClr val="tx1"/>
                  </a:solidFill>
                  <a:latin typeface="Arial" charset="0"/>
                  <a:cs typeface="Arial" charset="0"/>
                </a:defRPr>
              </a:lvl7pPr>
              <a:lvl8pPr marL="3429000" indent="-228600" eaLnBrk="0" fontAlgn="base" hangingPunct="0">
                <a:spcBef>
                  <a:spcPct val="0"/>
                </a:spcBef>
                <a:spcAft>
                  <a:spcPct val="0"/>
                </a:spcAft>
                <a:defRPr sz="1400" b="1">
                  <a:solidFill>
                    <a:schemeClr val="tx1"/>
                  </a:solidFill>
                  <a:latin typeface="Arial" charset="0"/>
                  <a:cs typeface="Arial" charset="0"/>
                </a:defRPr>
              </a:lvl8pPr>
              <a:lvl9pPr marL="3886200" indent="-228600" eaLnBrk="0" fontAlgn="base" hangingPunct="0">
                <a:spcBef>
                  <a:spcPct val="0"/>
                </a:spcBef>
                <a:spcAft>
                  <a:spcPct val="0"/>
                </a:spcAft>
                <a:defRPr sz="1400" b="1">
                  <a:solidFill>
                    <a:schemeClr val="tx1"/>
                  </a:solidFill>
                  <a:latin typeface="Arial" charset="0"/>
                  <a:cs typeface="Arial" charset="0"/>
                </a:defRPr>
              </a:lvl9pPr>
            </a:lstStyle>
            <a:p>
              <a:pPr algn="ctr" eaLnBrk="1" hangingPunct="1"/>
              <a:r>
                <a:rPr kumimoji="1" lang="en-US" altLang="ja-JP" sz="1600" b="0">
                  <a:solidFill>
                    <a:srgbClr val="FFFFFF"/>
                  </a:solidFill>
                  <a:latin typeface="Times New Roman" pitchFamily="18" charset="0"/>
                  <a:ea typeface="ＭＳ Ｐゴシック" pitchFamily="50" charset="-128"/>
                </a:rPr>
                <a:t>KOMTRAX Plus</a:t>
              </a:r>
            </a:p>
            <a:p>
              <a:pPr algn="ctr" eaLnBrk="1" hangingPunct="1"/>
              <a:r>
                <a:rPr kumimoji="1" lang="en-US" altLang="ja-JP" sz="1600" b="0">
                  <a:solidFill>
                    <a:srgbClr val="FFFFFF"/>
                  </a:solidFill>
                  <a:latin typeface="Times New Roman" pitchFamily="18" charset="0"/>
                  <a:ea typeface="ＭＳ Ｐゴシック" pitchFamily="50" charset="-128"/>
                </a:rPr>
                <a:t>Database</a:t>
              </a:r>
            </a:p>
          </p:txBody>
        </p:sp>
        <p:sp>
          <p:nvSpPr>
            <p:cNvPr id="46105" name="Text Box 288"/>
            <p:cNvSpPr txBox="1">
              <a:spLocks noChangeArrowheads="1"/>
            </p:cNvSpPr>
            <p:nvPr/>
          </p:nvSpPr>
          <p:spPr bwMode="auto">
            <a:xfrm>
              <a:off x="3634" y="2688"/>
              <a:ext cx="727" cy="1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sz="1400" b="1">
                  <a:solidFill>
                    <a:schemeClr val="tx1"/>
                  </a:solidFill>
                  <a:latin typeface="Arial" charset="0"/>
                  <a:cs typeface="Arial" charset="0"/>
                </a:defRPr>
              </a:lvl1pPr>
              <a:lvl2pPr marL="742950" indent="-285750">
                <a:defRPr sz="1400" b="1">
                  <a:solidFill>
                    <a:schemeClr val="tx1"/>
                  </a:solidFill>
                  <a:latin typeface="Arial" charset="0"/>
                  <a:cs typeface="Arial" charset="0"/>
                </a:defRPr>
              </a:lvl2pPr>
              <a:lvl3pPr marL="1143000" indent="-228600">
                <a:defRPr sz="1400" b="1">
                  <a:solidFill>
                    <a:schemeClr val="tx1"/>
                  </a:solidFill>
                  <a:latin typeface="Arial" charset="0"/>
                  <a:cs typeface="Arial" charset="0"/>
                </a:defRPr>
              </a:lvl3pPr>
              <a:lvl4pPr marL="1600200" indent="-228600">
                <a:defRPr sz="1400" b="1">
                  <a:solidFill>
                    <a:schemeClr val="tx1"/>
                  </a:solidFill>
                  <a:latin typeface="Arial" charset="0"/>
                  <a:cs typeface="Arial" charset="0"/>
                </a:defRPr>
              </a:lvl4pPr>
              <a:lvl5pPr marL="2057400" indent="-228600">
                <a:defRPr sz="1400" b="1">
                  <a:solidFill>
                    <a:schemeClr val="tx1"/>
                  </a:solidFill>
                  <a:latin typeface="Arial" charset="0"/>
                  <a:cs typeface="Arial" charset="0"/>
                </a:defRPr>
              </a:lvl5pPr>
              <a:lvl6pPr marL="2514600" indent="-228600" eaLnBrk="0" fontAlgn="base" hangingPunct="0">
                <a:spcBef>
                  <a:spcPct val="0"/>
                </a:spcBef>
                <a:spcAft>
                  <a:spcPct val="0"/>
                </a:spcAft>
                <a:defRPr sz="1400" b="1">
                  <a:solidFill>
                    <a:schemeClr val="tx1"/>
                  </a:solidFill>
                  <a:latin typeface="Arial" charset="0"/>
                  <a:cs typeface="Arial" charset="0"/>
                </a:defRPr>
              </a:lvl6pPr>
              <a:lvl7pPr marL="2971800" indent="-228600" eaLnBrk="0" fontAlgn="base" hangingPunct="0">
                <a:spcBef>
                  <a:spcPct val="0"/>
                </a:spcBef>
                <a:spcAft>
                  <a:spcPct val="0"/>
                </a:spcAft>
                <a:defRPr sz="1400" b="1">
                  <a:solidFill>
                    <a:schemeClr val="tx1"/>
                  </a:solidFill>
                  <a:latin typeface="Arial" charset="0"/>
                  <a:cs typeface="Arial" charset="0"/>
                </a:defRPr>
              </a:lvl7pPr>
              <a:lvl8pPr marL="3429000" indent="-228600" eaLnBrk="0" fontAlgn="base" hangingPunct="0">
                <a:spcBef>
                  <a:spcPct val="0"/>
                </a:spcBef>
                <a:spcAft>
                  <a:spcPct val="0"/>
                </a:spcAft>
                <a:defRPr sz="1400" b="1">
                  <a:solidFill>
                    <a:schemeClr val="tx1"/>
                  </a:solidFill>
                  <a:latin typeface="Arial" charset="0"/>
                  <a:cs typeface="Arial" charset="0"/>
                </a:defRPr>
              </a:lvl8pPr>
              <a:lvl9pPr marL="3886200" indent="-228600" eaLnBrk="0" fontAlgn="base" hangingPunct="0">
                <a:spcBef>
                  <a:spcPct val="0"/>
                </a:spcBef>
                <a:spcAft>
                  <a:spcPct val="0"/>
                </a:spcAft>
                <a:defRPr sz="1400" b="1">
                  <a:solidFill>
                    <a:schemeClr val="tx1"/>
                  </a:solidFill>
                  <a:latin typeface="Arial" charset="0"/>
                  <a:cs typeface="Arial" charset="0"/>
                </a:defRPr>
              </a:lvl9pPr>
            </a:lstStyle>
            <a:p>
              <a:pPr eaLnBrk="1" hangingPunct="1">
                <a:lnSpc>
                  <a:spcPct val="90000"/>
                </a:lnSpc>
              </a:pPr>
              <a:r>
                <a:rPr kumimoji="1" lang="en-US" altLang="ja-JP" sz="1100" b="0">
                  <a:solidFill>
                    <a:srgbClr val="0E1271"/>
                  </a:solidFill>
                  <a:latin typeface="Times New Roman" pitchFamily="18" charset="0"/>
                  <a:ea typeface="ＭＳ Ｐゴシック" pitchFamily="50" charset="-128"/>
                </a:rPr>
                <a:t>KOMTRAX</a:t>
              </a:r>
              <a:r>
                <a:rPr kumimoji="1" lang="ja-JP" altLang="en-US" sz="1100" b="0">
                  <a:solidFill>
                    <a:srgbClr val="0E1271"/>
                  </a:solidFill>
                  <a:latin typeface="Times New Roman" pitchFamily="18" charset="0"/>
                  <a:ea typeface="ＭＳ Ｐゴシック" pitchFamily="50" charset="-128"/>
                </a:rPr>
                <a:t> </a:t>
              </a:r>
              <a:r>
                <a:rPr kumimoji="1" lang="en-US" altLang="ja-JP" sz="1100" b="0">
                  <a:solidFill>
                    <a:srgbClr val="0E1271"/>
                  </a:solidFill>
                  <a:latin typeface="Times New Roman" pitchFamily="18" charset="0"/>
                  <a:ea typeface="ＭＳ Ｐゴシック" pitchFamily="50" charset="-128"/>
                </a:rPr>
                <a:t>Plus</a:t>
              </a:r>
            </a:p>
            <a:p>
              <a:pPr eaLnBrk="1" hangingPunct="1">
                <a:lnSpc>
                  <a:spcPct val="90000"/>
                </a:lnSpc>
              </a:pPr>
              <a:r>
                <a:rPr kumimoji="1" lang="en-US" altLang="ja-JP" sz="1100" b="0">
                  <a:solidFill>
                    <a:srgbClr val="0E1271"/>
                  </a:solidFill>
                  <a:latin typeface="Times New Roman" pitchFamily="18" charset="0"/>
                  <a:ea typeface="ＭＳ Ｐゴシック" pitchFamily="50" charset="-128"/>
                </a:rPr>
                <a:t>DATA ANALYSIS</a:t>
              </a:r>
            </a:p>
          </p:txBody>
        </p:sp>
      </p:grpSp>
      <p:grpSp>
        <p:nvGrpSpPr>
          <p:cNvPr id="5" name="Group 341"/>
          <p:cNvGrpSpPr>
            <a:grpSpLocks/>
          </p:cNvGrpSpPr>
          <p:nvPr/>
        </p:nvGrpSpPr>
        <p:grpSpPr bwMode="auto">
          <a:xfrm>
            <a:off x="85725" y="4221163"/>
            <a:ext cx="4659313" cy="2233612"/>
            <a:chOff x="54" y="2634"/>
            <a:chExt cx="2935" cy="1407"/>
          </a:xfrm>
        </p:grpSpPr>
        <p:sp>
          <p:nvSpPr>
            <p:cNvPr id="46089" name="Oval 281"/>
            <p:cNvSpPr>
              <a:spLocks noChangeAspect="1" noChangeArrowheads="1"/>
            </p:cNvSpPr>
            <p:nvPr/>
          </p:nvSpPr>
          <p:spPr bwMode="gray">
            <a:xfrm>
              <a:off x="1592" y="3513"/>
              <a:ext cx="1397" cy="512"/>
            </a:xfrm>
            <a:prstGeom prst="ellipse">
              <a:avLst/>
            </a:prstGeom>
            <a:solidFill>
              <a:srgbClr val="800000"/>
            </a:solidFill>
            <a:ln>
              <a:noFill/>
            </a:ln>
            <a:extLst>
              <a:ext uri="{91240B29-F687-4F45-9708-019B960494DF}">
                <a14:hiddenLine xmlns:a14="http://schemas.microsoft.com/office/drawing/2010/main" w="9525">
                  <a:solidFill>
                    <a:srgbClr val="000000"/>
                  </a:solidFill>
                  <a:round/>
                  <a:headEnd/>
                  <a:tailEnd/>
                </a14:hiddenLine>
              </a:ext>
            </a:extLst>
          </p:spPr>
          <p:txBody>
            <a:bodyPr wrap="none" lIns="90000" tIns="46800" rIns="90000" bIns="46800" anchor="ctr"/>
            <a:lstStyle>
              <a:lvl1pPr>
                <a:defRPr sz="1400" b="1">
                  <a:solidFill>
                    <a:schemeClr val="tx1"/>
                  </a:solidFill>
                  <a:latin typeface="Arial" charset="0"/>
                  <a:cs typeface="Arial" charset="0"/>
                </a:defRPr>
              </a:lvl1pPr>
              <a:lvl2pPr marL="742950" indent="-285750">
                <a:defRPr sz="1400" b="1">
                  <a:solidFill>
                    <a:schemeClr val="tx1"/>
                  </a:solidFill>
                  <a:latin typeface="Arial" charset="0"/>
                  <a:cs typeface="Arial" charset="0"/>
                </a:defRPr>
              </a:lvl2pPr>
              <a:lvl3pPr marL="1143000" indent="-228600">
                <a:defRPr sz="1400" b="1">
                  <a:solidFill>
                    <a:schemeClr val="tx1"/>
                  </a:solidFill>
                  <a:latin typeface="Arial" charset="0"/>
                  <a:cs typeface="Arial" charset="0"/>
                </a:defRPr>
              </a:lvl3pPr>
              <a:lvl4pPr marL="1600200" indent="-228600">
                <a:defRPr sz="1400" b="1">
                  <a:solidFill>
                    <a:schemeClr val="tx1"/>
                  </a:solidFill>
                  <a:latin typeface="Arial" charset="0"/>
                  <a:cs typeface="Arial" charset="0"/>
                </a:defRPr>
              </a:lvl4pPr>
              <a:lvl5pPr marL="2057400" indent="-228600">
                <a:defRPr sz="1400" b="1">
                  <a:solidFill>
                    <a:schemeClr val="tx1"/>
                  </a:solidFill>
                  <a:latin typeface="Arial" charset="0"/>
                  <a:cs typeface="Arial" charset="0"/>
                </a:defRPr>
              </a:lvl5pPr>
              <a:lvl6pPr marL="2514600" indent="-228600" eaLnBrk="0" fontAlgn="base" hangingPunct="0">
                <a:spcBef>
                  <a:spcPct val="0"/>
                </a:spcBef>
                <a:spcAft>
                  <a:spcPct val="0"/>
                </a:spcAft>
                <a:defRPr sz="1400" b="1">
                  <a:solidFill>
                    <a:schemeClr val="tx1"/>
                  </a:solidFill>
                  <a:latin typeface="Arial" charset="0"/>
                  <a:cs typeface="Arial" charset="0"/>
                </a:defRPr>
              </a:lvl6pPr>
              <a:lvl7pPr marL="2971800" indent="-228600" eaLnBrk="0" fontAlgn="base" hangingPunct="0">
                <a:spcBef>
                  <a:spcPct val="0"/>
                </a:spcBef>
                <a:spcAft>
                  <a:spcPct val="0"/>
                </a:spcAft>
                <a:defRPr sz="1400" b="1">
                  <a:solidFill>
                    <a:schemeClr val="tx1"/>
                  </a:solidFill>
                  <a:latin typeface="Arial" charset="0"/>
                  <a:cs typeface="Arial" charset="0"/>
                </a:defRPr>
              </a:lvl7pPr>
              <a:lvl8pPr marL="3429000" indent="-228600" eaLnBrk="0" fontAlgn="base" hangingPunct="0">
                <a:spcBef>
                  <a:spcPct val="0"/>
                </a:spcBef>
                <a:spcAft>
                  <a:spcPct val="0"/>
                </a:spcAft>
                <a:defRPr sz="1400" b="1">
                  <a:solidFill>
                    <a:schemeClr val="tx1"/>
                  </a:solidFill>
                  <a:latin typeface="Arial" charset="0"/>
                  <a:cs typeface="Arial" charset="0"/>
                </a:defRPr>
              </a:lvl8pPr>
              <a:lvl9pPr marL="3886200" indent="-228600" eaLnBrk="0" fontAlgn="base" hangingPunct="0">
                <a:spcBef>
                  <a:spcPct val="0"/>
                </a:spcBef>
                <a:spcAft>
                  <a:spcPct val="0"/>
                </a:spcAft>
                <a:defRPr sz="1400" b="1">
                  <a:solidFill>
                    <a:schemeClr val="tx1"/>
                  </a:solidFill>
                  <a:latin typeface="Arial" charset="0"/>
                  <a:cs typeface="Arial" charset="0"/>
                </a:defRPr>
              </a:lvl9pPr>
            </a:lstStyle>
            <a:p>
              <a:pPr algn="ctr" eaLnBrk="1" hangingPunct="1"/>
              <a:r>
                <a:rPr kumimoji="1" lang="en-US" altLang="ja-JP" sz="2000" b="0">
                  <a:solidFill>
                    <a:srgbClr val="FFFFFF"/>
                  </a:solidFill>
                  <a:latin typeface="Times New Roman" pitchFamily="18" charset="0"/>
                  <a:ea typeface="ＭＳ Ｐゴシック" pitchFamily="50" charset="-128"/>
                </a:rPr>
                <a:t>Proactive</a:t>
              </a:r>
              <a:br>
                <a:rPr kumimoji="1" lang="en-US" altLang="ja-JP" sz="2000" b="0">
                  <a:solidFill>
                    <a:srgbClr val="FFFFFF"/>
                  </a:solidFill>
                  <a:latin typeface="Times New Roman" pitchFamily="18" charset="0"/>
                  <a:ea typeface="ＭＳ Ｐゴシック" pitchFamily="50" charset="-128"/>
                </a:rPr>
              </a:br>
              <a:r>
                <a:rPr kumimoji="1" lang="en-US" altLang="ja-JP" sz="2000" b="0">
                  <a:solidFill>
                    <a:srgbClr val="FFFFFF"/>
                  </a:solidFill>
                  <a:latin typeface="Times New Roman" pitchFamily="18" charset="0"/>
                  <a:ea typeface="ＭＳ Ｐゴシック" pitchFamily="50" charset="-128"/>
                </a:rPr>
                <a:t>Support</a:t>
              </a:r>
            </a:p>
          </p:txBody>
        </p:sp>
        <p:sp>
          <p:nvSpPr>
            <p:cNvPr id="46090" name="Text Box 292"/>
            <p:cNvSpPr txBox="1">
              <a:spLocks noChangeArrowheads="1"/>
            </p:cNvSpPr>
            <p:nvPr/>
          </p:nvSpPr>
          <p:spPr bwMode="auto">
            <a:xfrm>
              <a:off x="1423" y="2634"/>
              <a:ext cx="1200" cy="4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sz="1400" b="1">
                  <a:solidFill>
                    <a:schemeClr val="tx1"/>
                  </a:solidFill>
                  <a:latin typeface="Arial" charset="0"/>
                  <a:cs typeface="Arial" charset="0"/>
                </a:defRPr>
              </a:lvl1pPr>
              <a:lvl2pPr marL="742950" indent="-285750">
                <a:defRPr sz="1400" b="1">
                  <a:solidFill>
                    <a:schemeClr val="tx1"/>
                  </a:solidFill>
                  <a:latin typeface="Arial" charset="0"/>
                  <a:cs typeface="Arial" charset="0"/>
                </a:defRPr>
              </a:lvl2pPr>
              <a:lvl3pPr marL="1143000" indent="-228600">
                <a:defRPr sz="1400" b="1">
                  <a:solidFill>
                    <a:schemeClr val="tx1"/>
                  </a:solidFill>
                  <a:latin typeface="Arial" charset="0"/>
                  <a:cs typeface="Arial" charset="0"/>
                </a:defRPr>
              </a:lvl3pPr>
              <a:lvl4pPr marL="1600200" indent="-228600">
                <a:defRPr sz="1400" b="1">
                  <a:solidFill>
                    <a:schemeClr val="tx1"/>
                  </a:solidFill>
                  <a:latin typeface="Arial" charset="0"/>
                  <a:cs typeface="Arial" charset="0"/>
                </a:defRPr>
              </a:lvl4pPr>
              <a:lvl5pPr marL="2057400" indent="-228600">
                <a:defRPr sz="1400" b="1">
                  <a:solidFill>
                    <a:schemeClr val="tx1"/>
                  </a:solidFill>
                  <a:latin typeface="Arial" charset="0"/>
                  <a:cs typeface="Arial" charset="0"/>
                </a:defRPr>
              </a:lvl5pPr>
              <a:lvl6pPr marL="2514600" indent="-228600" eaLnBrk="0" fontAlgn="base" hangingPunct="0">
                <a:spcBef>
                  <a:spcPct val="0"/>
                </a:spcBef>
                <a:spcAft>
                  <a:spcPct val="0"/>
                </a:spcAft>
                <a:defRPr sz="1400" b="1">
                  <a:solidFill>
                    <a:schemeClr val="tx1"/>
                  </a:solidFill>
                  <a:latin typeface="Arial" charset="0"/>
                  <a:cs typeface="Arial" charset="0"/>
                </a:defRPr>
              </a:lvl6pPr>
              <a:lvl7pPr marL="2971800" indent="-228600" eaLnBrk="0" fontAlgn="base" hangingPunct="0">
                <a:spcBef>
                  <a:spcPct val="0"/>
                </a:spcBef>
                <a:spcAft>
                  <a:spcPct val="0"/>
                </a:spcAft>
                <a:defRPr sz="1400" b="1">
                  <a:solidFill>
                    <a:schemeClr val="tx1"/>
                  </a:solidFill>
                  <a:latin typeface="Arial" charset="0"/>
                  <a:cs typeface="Arial" charset="0"/>
                </a:defRPr>
              </a:lvl7pPr>
              <a:lvl8pPr marL="3429000" indent="-228600" eaLnBrk="0" fontAlgn="base" hangingPunct="0">
                <a:spcBef>
                  <a:spcPct val="0"/>
                </a:spcBef>
                <a:spcAft>
                  <a:spcPct val="0"/>
                </a:spcAft>
                <a:defRPr sz="1400" b="1">
                  <a:solidFill>
                    <a:schemeClr val="tx1"/>
                  </a:solidFill>
                  <a:latin typeface="Arial" charset="0"/>
                  <a:cs typeface="Arial" charset="0"/>
                </a:defRPr>
              </a:lvl8pPr>
              <a:lvl9pPr marL="3886200" indent="-228600" eaLnBrk="0" fontAlgn="base" hangingPunct="0">
                <a:spcBef>
                  <a:spcPct val="0"/>
                </a:spcBef>
                <a:spcAft>
                  <a:spcPct val="0"/>
                </a:spcAft>
                <a:defRPr sz="1400" b="1">
                  <a:solidFill>
                    <a:schemeClr val="tx1"/>
                  </a:solidFill>
                  <a:latin typeface="Arial" charset="0"/>
                  <a:cs typeface="Arial" charset="0"/>
                </a:defRPr>
              </a:lvl9pPr>
            </a:lstStyle>
            <a:p>
              <a:pPr eaLnBrk="1" hangingPunct="1">
                <a:lnSpc>
                  <a:spcPct val="90000"/>
                </a:lnSpc>
              </a:pPr>
              <a:r>
                <a:rPr kumimoji="1" lang="en-US" altLang="ja-JP" sz="1100" dirty="0">
                  <a:solidFill>
                    <a:srgbClr val="339933"/>
                  </a:solidFill>
                  <a:latin typeface="Times New Roman" pitchFamily="18" charset="0"/>
                  <a:ea typeface="ＭＳ Ｐゴシック" pitchFamily="50" charset="-128"/>
                </a:rPr>
                <a:t>Prompt communication: </a:t>
              </a:r>
            </a:p>
            <a:p>
              <a:pPr eaLnBrk="1" hangingPunct="1">
                <a:lnSpc>
                  <a:spcPct val="90000"/>
                </a:lnSpc>
              </a:pPr>
              <a:r>
                <a:rPr kumimoji="1" lang="en-US" altLang="ja-JP" sz="1100" dirty="0">
                  <a:solidFill>
                    <a:srgbClr val="0E1271"/>
                  </a:solidFill>
                  <a:latin typeface="Times New Roman" pitchFamily="18" charset="0"/>
                  <a:ea typeface="ＭＳ Ｐゴシック" pitchFamily="50" charset="-128"/>
                </a:rPr>
                <a:t>Reduce unscheduled repair.</a:t>
              </a:r>
            </a:p>
            <a:p>
              <a:pPr eaLnBrk="1" hangingPunct="1">
                <a:lnSpc>
                  <a:spcPct val="90000"/>
                </a:lnSpc>
              </a:pPr>
              <a:r>
                <a:rPr kumimoji="1" lang="en-US" altLang="ja-JP" sz="1100" dirty="0">
                  <a:solidFill>
                    <a:srgbClr val="339933"/>
                  </a:solidFill>
                  <a:latin typeface="Times New Roman" pitchFamily="18" charset="0"/>
                  <a:ea typeface="ＭＳ Ｐゴシック" pitchFamily="50" charset="-128"/>
                </a:rPr>
                <a:t>Accurate forecast:</a:t>
              </a:r>
            </a:p>
            <a:p>
              <a:pPr eaLnBrk="1" hangingPunct="1">
                <a:lnSpc>
                  <a:spcPct val="90000"/>
                </a:lnSpc>
              </a:pPr>
              <a:r>
                <a:rPr kumimoji="1" lang="en-US" altLang="ja-JP" sz="1100" dirty="0">
                  <a:solidFill>
                    <a:srgbClr val="0E1271"/>
                  </a:solidFill>
                  <a:latin typeface="Times New Roman" pitchFamily="18" charset="0"/>
                  <a:ea typeface="ＭＳ Ｐゴシック" pitchFamily="50" charset="-128"/>
                </a:rPr>
                <a:t>Extend and optimize major component life.</a:t>
              </a:r>
            </a:p>
          </p:txBody>
        </p:sp>
        <p:sp>
          <p:nvSpPr>
            <p:cNvPr id="46091" name="Text Box 294"/>
            <p:cNvSpPr txBox="1">
              <a:spLocks noChangeArrowheads="1"/>
            </p:cNvSpPr>
            <p:nvPr/>
          </p:nvSpPr>
          <p:spPr bwMode="auto">
            <a:xfrm>
              <a:off x="54" y="3552"/>
              <a:ext cx="1483" cy="4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marL="98425" indent="-98425">
                <a:defRPr sz="1400" b="1">
                  <a:solidFill>
                    <a:schemeClr val="tx1"/>
                  </a:solidFill>
                  <a:latin typeface="Arial" charset="0"/>
                  <a:cs typeface="Arial" charset="0"/>
                </a:defRPr>
              </a:lvl1pPr>
              <a:lvl2pPr marL="742950" indent="-285750">
                <a:defRPr sz="1400" b="1">
                  <a:solidFill>
                    <a:schemeClr val="tx1"/>
                  </a:solidFill>
                  <a:latin typeface="Arial" charset="0"/>
                  <a:cs typeface="Arial" charset="0"/>
                </a:defRPr>
              </a:lvl2pPr>
              <a:lvl3pPr marL="1143000" indent="-228600">
                <a:defRPr sz="1400" b="1">
                  <a:solidFill>
                    <a:schemeClr val="tx1"/>
                  </a:solidFill>
                  <a:latin typeface="Arial" charset="0"/>
                  <a:cs typeface="Arial" charset="0"/>
                </a:defRPr>
              </a:lvl3pPr>
              <a:lvl4pPr marL="1600200" indent="-228600">
                <a:defRPr sz="1400" b="1">
                  <a:solidFill>
                    <a:schemeClr val="tx1"/>
                  </a:solidFill>
                  <a:latin typeface="Arial" charset="0"/>
                  <a:cs typeface="Arial" charset="0"/>
                </a:defRPr>
              </a:lvl4pPr>
              <a:lvl5pPr marL="2057400" indent="-228600">
                <a:defRPr sz="1400" b="1">
                  <a:solidFill>
                    <a:schemeClr val="tx1"/>
                  </a:solidFill>
                  <a:latin typeface="Arial" charset="0"/>
                  <a:cs typeface="Arial" charset="0"/>
                </a:defRPr>
              </a:lvl5pPr>
              <a:lvl6pPr marL="2514600" indent="-228600" eaLnBrk="0" fontAlgn="base" hangingPunct="0">
                <a:spcBef>
                  <a:spcPct val="0"/>
                </a:spcBef>
                <a:spcAft>
                  <a:spcPct val="0"/>
                </a:spcAft>
                <a:defRPr sz="1400" b="1">
                  <a:solidFill>
                    <a:schemeClr val="tx1"/>
                  </a:solidFill>
                  <a:latin typeface="Arial" charset="0"/>
                  <a:cs typeface="Arial" charset="0"/>
                </a:defRPr>
              </a:lvl6pPr>
              <a:lvl7pPr marL="2971800" indent="-228600" eaLnBrk="0" fontAlgn="base" hangingPunct="0">
                <a:spcBef>
                  <a:spcPct val="0"/>
                </a:spcBef>
                <a:spcAft>
                  <a:spcPct val="0"/>
                </a:spcAft>
                <a:defRPr sz="1400" b="1">
                  <a:solidFill>
                    <a:schemeClr val="tx1"/>
                  </a:solidFill>
                  <a:latin typeface="Arial" charset="0"/>
                  <a:cs typeface="Arial" charset="0"/>
                </a:defRPr>
              </a:lvl7pPr>
              <a:lvl8pPr marL="3429000" indent="-228600" eaLnBrk="0" fontAlgn="base" hangingPunct="0">
                <a:spcBef>
                  <a:spcPct val="0"/>
                </a:spcBef>
                <a:spcAft>
                  <a:spcPct val="0"/>
                </a:spcAft>
                <a:defRPr sz="1400" b="1">
                  <a:solidFill>
                    <a:schemeClr val="tx1"/>
                  </a:solidFill>
                  <a:latin typeface="Arial" charset="0"/>
                  <a:cs typeface="Arial" charset="0"/>
                </a:defRPr>
              </a:lvl8pPr>
              <a:lvl9pPr marL="3886200" indent="-228600" eaLnBrk="0" fontAlgn="base" hangingPunct="0">
                <a:spcBef>
                  <a:spcPct val="0"/>
                </a:spcBef>
                <a:spcAft>
                  <a:spcPct val="0"/>
                </a:spcAft>
                <a:defRPr sz="1400" b="1">
                  <a:solidFill>
                    <a:schemeClr val="tx1"/>
                  </a:solidFill>
                  <a:latin typeface="Arial" charset="0"/>
                  <a:cs typeface="Arial" charset="0"/>
                </a:defRPr>
              </a:lvl9pPr>
            </a:lstStyle>
            <a:p>
              <a:pPr eaLnBrk="1" hangingPunct="1">
                <a:lnSpc>
                  <a:spcPct val="90000"/>
                </a:lnSpc>
                <a:buFontTx/>
                <a:buChar char="•"/>
              </a:pPr>
              <a:r>
                <a:rPr kumimoji="1" lang="en-US" altLang="ja-JP" dirty="0">
                  <a:solidFill>
                    <a:srgbClr val="0E1271"/>
                  </a:solidFill>
                  <a:latin typeface="Times New Roman" pitchFamily="18" charset="0"/>
                  <a:ea typeface="ＭＳ Ｐゴシック" pitchFamily="50" charset="-128"/>
                </a:rPr>
                <a:t>Reduce cost for repair and maintenance</a:t>
              </a:r>
            </a:p>
            <a:p>
              <a:pPr eaLnBrk="1" hangingPunct="1">
                <a:lnSpc>
                  <a:spcPct val="90000"/>
                </a:lnSpc>
                <a:buFontTx/>
                <a:buChar char="•"/>
              </a:pPr>
              <a:r>
                <a:rPr kumimoji="1" lang="en-US" altLang="ja-JP" dirty="0">
                  <a:solidFill>
                    <a:srgbClr val="0E1271"/>
                  </a:solidFill>
                  <a:latin typeface="Times New Roman" pitchFamily="18" charset="0"/>
                  <a:ea typeface="ＭＳ Ｐゴシック" pitchFamily="50" charset="-128"/>
                </a:rPr>
                <a:t>Keep high machine availability</a:t>
              </a:r>
            </a:p>
          </p:txBody>
        </p:sp>
        <p:sp>
          <p:nvSpPr>
            <p:cNvPr id="46092" name="AutoShape 320"/>
            <p:cNvSpPr>
              <a:spLocks noChangeArrowheads="1"/>
            </p:cNvSpPr>
            <p:nvPr/>
          </p:nvSpPr>
          <p:spPr bwMode="auto">
            <a:xfrm flipH="1">
              <a:off x="1880" y="3190"/>
              <a:ext cx="384" cy="288"/>
            </a:xfrm>
            <a:prstGeom prst="rightArrow">
              <a:avLst>
                <a:gd name="adj1" fmla="val 50009"/>
                <a:gd name="adj2" fmla="val 66673"/>
              </a:avLst>
            </a:prstGeom>
            <a:solidFill>
              <a:srgbClr val="FF6600"/>
            </a:solidFill>
            <a:ln>
              <a:noFill/>
            </a:ln>
            <a:extLst>
              <a:ext uri="{91240B29-F687-4F45-9708-019B960494DF}">
                <a14:hiddenLine xmlns:a14="http://schemas.microsoft.com/office/drawing/2010/main" w="12700">
                  <a:solidFill>
                    <a:srgbClr val="000000"/>
                  </a:solidFill>
                  <a:miter lim="800000"/>
                  <a:headEnd/>
                  <a:tailEnd/>
                </a14:hiddenLine>
              </a:ext>
            </a:extLst>
          </p:spPr>
          <p:txBody>
            <a:bodyPr wrap="none" anchor="ctr"/>
            <a:lstStyle>
              <a:lvl1pPr>
                <a:defRPr sz="1400" b="1">
                  <a:solidFill>
                    <a:schemeClr val="tx1"/>
                  </a:solidFill>
                  <a:latin typeface="Arial" charset="0"/>
                  <a:cs typeface="Arial" charset="0"/>
                </a:defRPr>
              </a:lvl1pPr>
              <a:lvl2pPr marL="742950" indent="-285750">
                <a:defRPr sz="1400" b="1">
                  <a:solidFill>
                    <a:schemeClr val="tx1"/>
                  </a:solidFill>
                  <a:latin typeface="Arial" charset="0"/>
                  <a:cs typeface="Arial" charset="0"/>
                </a:defRPr>
              </a:lvl2pPr>
              <a:lvl3pPr marL="1143000" indent="-228600">
                <a:defRPr sz="1400" b="1">
                  <a:solidFill>
                    <a:schemeClr val="tx1"/>
                  </a:solidFill>
                  <a:latin typeface="Arial" charset="0"/>
                  <a:cs typeface="Arial" charset="0"/>
                </a:defRPr>
              </a:lvl3pPr>
              <a:lvl4pPr marL="1600200" indent="-228600">
                <a:defRPr sz="1400" b="1">
                  <a:solidFill>
                    <a:schemeClr val="tx1"/>
                  </a:solidFill>
                  <a:latin typeface="Arial" charset="0"/>
                  <a:cs typeface="Arial" charset="0"/>
                </a:defRPr>
              </a:lvl4pPr>
              <a:lvl5pPr marL="2057400" indent="-228600">
                <a:defRPr sz="1400" b="1">
                  <a:solidFill>
                    <a:schemeClr val="tx1"/>
                  </a:solidFill>
                  <a:latin typeface="Arial" charset="0"/>
                  <a:cs typeface="Arial" charset="0"/>
                </a:defRPr>
              </a:lvl5pPr>
              <a:lvl6pPr marL="2514600" indent="-228600" eaLnBrk="0" fontAlgn="base" hangingPunct="0">
                <a:spcBef>
                  <a:spcPct val="0"/>
                </a:spcBef>
                <a:spcAft>
                  <a:spcPct val="0"/>
                </a:spcAft>
                <a:defRPr sz="1400" b="1">
                  <a:solidFill>
                    <a:schemeClr val="tx1"/>
                  </a:solidFill>
                  <a:latin typeface="Arial" charset="0"/>
                  <a:cs typeface="Arial" charset="0"/>
                </a:defRPr>
              </a:lvl6pPr>
              <a:lvl7pPr marL="2971800" indent="-228600" eaLnBrk="0" fontAlgn="base" hangingPunct="0">
                <a:spcBef>
                  <a:spcPct val="0"/>
                </a:spcBef>
                <a:spcAft>
                  <a:spcPct val="0"/>
                </a:spcAft>
                <a:defRPr sz="1400" b="1">
                  <a:solidFill>
                    <a:schemeClr val="tx1"/>
                  </a:solidFill>
                  <a:latin typeface="Arial" charset="0"/>
                  <a:cs typeface="Arial" charset="0"/>
                </a:defRPr>
              </a:lvl7pPr>
              <a:lvl8pPr marL="3429000" indent="-228600" eaLnBrk="0" fontAlgn="base" hangingPunct="0">
                <a:spcBef>
                  <a:spcPct val="0"/>
                </a:spcBef>
                <a:spcAft>
                  <a:spcPct val="0"/>
                </a:spcAft>
                <a:defRPr sz="1400" b="1">
                  <a:solidFill>
                    <a:schemeClr val="tx1"/>
                  </a:solidFill>
                  <a:latin typeface="Arial" charset="0"/>
                  <a:cs typeface="Arial" charset="0"/>
                </a:defRPr>
              </a:lvl8pPr>
              <a:lvl9pPr marL="3886200" indent="-228600" eaLnBrk="0" fontAlgn="base" hangingPunct="0">
                <a:spcBef>
                  <a:spcPct val="0"/>
                </a:spcBef>
                <a:spcAft>
                  <a:spcPct val="0"/>
                </a:spcAft>
                <a:defRPr sz="1400" b="1">
                  <a:solidFill>
                    <a:schemeClr val="tx1"/>
                  </a:solidFill>
                  <a:latin typeface="Arial" charset="0"/>
                  <a:cs typeface="Arial" charset="0"/>
                </a:defRPr>
              </a:lvl9pPr>
            </a:lstStyle>
            <a:p>
              <a:pPr eaLnBrk="1" hangingPunct="1"/>
              <a:endParaRPr kumimoji="1" lang="ja-JP" altLang="ja-JP" sz="1800" b="0">
                <a:latin typeface="Times New Roman" pitchFamily="18" charset="0"/>
                <a:ea typeface="ＭＳ Ｐゴシック" pitchFamily="50" charset="-128"/>
              </a:endParaRPr>
            </a:p>
          </p:txBody>
        </p:sp>
        <p:pic>
          <p:nvPicPr>
            <p:cNvPr id="46093" name="Picture 329" descr="037_003"/>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88" y="2682"/>
              <a:ext cx="1280" cy="830"/>
            </a:xfrm>
            <a:prstGeom prst="rect">
              <a:avLst/>
            </a:prstGeom>
            <a:noFill/>
            <a:ln w="12700">
              <a:solidFill>
                <a:srgbClr val="000000"/>
              </a:solidFill>
              <a:miter lim="800000"/>
              <a:headEnd/>
              <a:tailEnd/>
            </a:ln>
            <a:extLst>
              <a:ext uri="{909E8E84-426E-40DD-AFC4-6F175D3DCCD1}">
                <a14:hiddenFill xmlns:a14="http://schemas.microsoft.com/office/drawing/2010/main">
                  <a:solidFill>
                    <a:srgbClr val="FFFFFF"/>
                  </a:solidFill>
                </a14:hiddenFill>
              </a:ext>
            </a:extLst>
          </p:spPr>
        </p:pic>
      </p:grpSp>
      <p:sp>
        <p:nvSpPr>
          <p:cNvPr id="44" name="TextBox 43"/>
          <p:cNvSpPr txBox="1"/>
          <p:nvPr/>
        </p:nvSpPr>
        <p:spPr>
          <a:xfrm>
            <a:off x="8534400" y="6324600"/>
            <a:ext cx="381000" cy="369332"/>
          </a:xfrm>
          <a:prstGeom prst="rect">
            <a:avLst/>
          </a:prstGeom>
          <a:noFill/>
        </p:spPr>
        <p:txBody>
          <a:bodyPr wrap="square" rtlCol="0">
            <a:spAutoFit/>
          </a:bodyPr>
          <a:lstStyle/>
          <a:p>
            <a:r>
              <a:rPr lang="en-US" dirty="0" smtClean="0"/>
              <a:t>8</a:t>
            </a:r>
            <a:endParaRPr lang="en-US" dirty="0"/>
          </a:p>
        </p:txBody>
      </p:sp>
      <p:sp>
        <p:nvSpPr>
          <p:cNvPr id="6" name="TextBox 5"/>
          <p:cNvSpPr txBox="1"/>
          <p:nvPr/>
        </p:nvSpPr>
        <p:spPr>
          <a:xfrm>
            <a:off x="179512" y="692696"/>
            <a:ext cx="8824788" cy="646331"/>
          </a:xfrm>
          <a:prstGeom prst="rect">
            <a:avLst/>
          </a:prstGeom>
          <a:noFill/>
        </p:spPr>
        <p:txBody>
          <a:bodyPr wrap="square" rtlCol="0">
            <a:spAutoFit/>
          </a:bodyPr>
          <a:lstStyle/>
          <a:p>
            <a:r>
              <a:rPr lang="en-US" b="1" dirty="0" smtClean="0"/>
              <a:t>Integrates KOMTRAX &amp; VHMS ( Vehicle Health Monitoring System) for  component condition &amp; operation data monitoring on a continuous basis.</a:t>
            </a:r>
            <a:endParaRPr lang="en-IN" b="1" dirty="0"/>
          </a:p>
        </p:txBody>
      </p:sp>
    </p:spTree>
    <p:extLst>
      <p:ext uri="{BB962C8B-B14F-4D97-AF65-F5344CB8AC3E}">
        <p14:creationId xmlns:p14="http://schemas.microsoft.com/office/powerpoint/2010/main" val="1251981743"/>
      </p:ext>
    </p:extLst>
  </p:cSld>
  <p:clrMapOvr>
    <a:masterClrMapping/>
  </p:clrMapOvr>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722313" y="2636912"/>
            <a:ext cx="7772400" cy="738311"/>
          </a:xfrm>
        </p:spPr>
        <p:txBody>
          <a:bodyPr/>
          <a:lstStyle/>
          <a:p>
            <a:pPr algn="ctr"/>
            <a:r>
              <a:rPr lang="en-US" sz="3200" b="1" dirty="0" smtClean="0"/>
              <a:t>Equipment Management Systems</a:t>
            </a:r>
            <a:endParaRPr lang="en-IN" sz="3200" b="1" dirty="0"/>
          </a:p>
        </p:txBody>
      </p:sp>
    </p:spTree>
    <p:extLst>
      <p:ext uri="{BB962C8B-B14F-4D97-AF65-F5344CB8AC3E}">
        <p14:creationId xmlns:p14="http://schemas.microsoft.com/office/powerpoint/2010/main" val="3946182791"/>
      </p:ext>
    </p:extLst>
  </p:cSld>
  <p:clrMapOvr>
    <a:masterClrMapping/>
  </p:clrMapOvr>
  <p:transition spd="slow">
    <p:wipe/>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1746" name="Object 2"/>
          <p:cNvGraphicFramePr>
            <a:graphicFrameLocks noChangeAspect="1"/>
          </p:cNvGraphicFramePr>
          <p:nvPr>
            <p:extLst>
              <p:ext uri="{D42A27DB-BD31-4B8C-83A1-F6EECF244321}">
                <p14:modId xmlns:p14="http://schemas.microsoft.com/office/powerpoint/2010/main" val="1029979113"/>
              </p:ext>
            </p:extLst>
          </p:nvPr>
        </p:nvGraphicFramePr>
        <p:xfrm>
          <a:off x="1150144" y="1052736"/>
          <a:ext cx="6845300" cy="4759325"/>
        </p:xfrm>
        <a:graphic>
          <a:graphicData uri="http://schemas.openxmlformats.org/presentationml/2006/ole">
            <mc:AlternateContent xmlns:mc="http://schemas.openxmlformats.org/markup-compatibility/2006">
              <mc:Choice xmlns:v="urn:schemas-microsoft-com:vml" Requires="v">
                <p:oleObj spid="_x0000_s9234" name="Clip" r:id="rId4" imgW="7619048" imgH="5714286" progId="">
                  <p:embed/>
                </p:oleObj>
              </mc:Choice>
              <mc:Fallback>
                <p:oleObj name="Clip" r:id="rId4" imgW="7619048" imgH="5714286"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t="4590" b="5556"/>
                      <a:stretch>
                        <a:fillRect/>
                      </a:stretch>
                    </p:blipFill>
                    <p:spPr bwMode="auto">
                      <a:xfrm>
                        <a:off x="1150144" y="1052736"/>
                        <a:ext cx="6845300" cy="475932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1747" name="Line 3"/>
          <p:cNvSpPr>
            <a:spLocks noChangeShapeType="1"/>
          </p:cNvSpPr>
          <p:nvPr/>
        </p:nvSpPr>
        <p:spPr bwMode="auto">
          <a:xfrm>
            <a:off x="2259013" y="2262188"/>
            <a:ext cx="3721100" cy="215900"/>
          </a:xfrm>
          <a:prstGeom prst="line">
            <a:avLst/>
          </a:prstGeom>
          <a:noFill/>
          <a:ln w="38100">
            <a:solidFill>
              <a:srgbClr val="FF3300"/>
            </a:solidFill>
            <a:round/>
            <a:headEnd type="none" w="sm" len="sm"/>
            <a:tailEnd type="none" w="sm" len="sm"/>
          </a:ln>
          <a:effectLst/>
        </p:spPr>
        <p:txBody>
          <a:bodyPr wrap="none" anchor="ctr"/>
          <a:lstStyle/>
          <a:p>
            <a:endParaRPr lang="en-US"/>
          </a:p>
        </p:txBody>
      </p:sp>
      <p:sp>
        <p:nvSpPr>
          <p:cNvPr id="31748" name="Line 4"/>
          <p:cNvSpPr>
            <a:spLocks noChangeShapeType="1"/>
          </p:cNvSpPr>
          <p:nvPr/>
        </p:nvSpPr>
        <p:spPr bwMode="auto">
          <a:xfrm>
            <a:off x="2259013" y="2297113"/>
            <a:ext cx="2679700" cy="2451100"/>
          </a:xfrm>
          <a:prstGeom prst="line">
            <a:avLst/>
          </a:prstGeom>
          <a:noFill/>
          <a:ln w="38100">
            <a:solidFill>
              <a:srgbClr val="FF3300"/>
            </a:solidFill>
            <a:round/>
            <a:headEnd type="none" w="sm" len="sm"/>
            <a:tailEnd type="none" w="sm" len="sm"/>
          </a:ln>
          <a:effectLst/>
        </p:spPr>
        <p:txBody>
          <a:bodyPr wrap="none" anchor="ctr"/>
          <a:lstStyle/>
          <a:p>
            <a:endParaRPr lang="en-US"/>
          </a:p>
        </p:txBody>
      </p:sp>
      <p:sp>
        <p:nvSpPr>
          <p:cNvPr id="31749" name="Text Box 5"/>
          <p:cNvSpPr txBox="1">
            <a:spLocks noChangeArrowheads="1"/>
          </p:cNvSpPr>
          <p:nvPr/>
        </p:nvSpPr>
        <p:spPr bwMode="auto">
          <a:xfrm>
            <a:off x="2743200" y="2457450"/>
            <a:ext cx="1066800" cy="212725"/>
          </a:xfrm>
          <a:prstGeom prst="rect">
            <a:avLst/>
          </a:prstGeom>
          <a:noFill/>
          <a:ln w="12700">
            <a:noFill/>
            <a:miter lim="800000"/>
            <a:headEnd type="none" w="sm" len="sm"/>
            <a:tailEnd type="none" w="sm" len="sm"/>
          </a:ln>
          <a:effectLst/>
        </p:spPr>
        <p:txBody>
          <a:bodyPr wrap="none" lIns="0" tIns="0" rIns="0" bIns="0">
            <a:spAutoFit/>
          </a:bodyPr>
          <a:lstStyle/>
          <a:p>
            <a:pPr>
              <a:lnSpc>
                <a:spcPct val="100000"/>
              </a:lnSpc>
              <a:spcBef>
                <a:spcPct val="0"/>
              </a:spcBef>
            </a:pPr>
            <a:r>
              <a:rPr lang="en-US" altLang="ja-JP" sz="1400" b="0">
                <a:solidFill>
                  <a:srgbClr val="FF3300"/>
                </a:solidFill>
                <a:latin typeface="Arial Black" pitchFamily="34" charset="0"/>
                <a:ea typeface="ＭＳ Ｐゴシック" charset="-128"/>
              </a:rPr>
              <a:t>GPS Signal</a:t>
            </a:r>
          </a:p>
        </p:txBody>
      </p:sp>
      <p:grpSp>
        <p:nvGrpSpPr>
          <p:cNvPr id="2" name="Group 6"/>
          <p:cNvGrpSpPr>
            <a:grpSpLocks/>
          </p:cNvGrpSpPr>
          <p:nvPr/>
        </p:nvGrpSpPr>
        <p:grpSpPr bwMode="auto">
          <a:xfrm>
            <a:off x="1403351" y="2132856"/>
            <a:ext cx="6469064" cy="3671888"/>
            <a:chOff x="884" y="1562"/>
            <a:chExt cx="4075" cy="2313"/>
          </a:xfrm>
        </p:grpSpPr>
        <p:sp>
          <p:nvSpPr>
            <p:cNvPr id="31751" name="Text Box 7"/>
            <p:cNvSpPr txBox="1">
              <a:spLocks noChangeArrowheads="1"/>
            </p:cNvSpPr>
            <p:nvPr/>
          </p:nvSpPr>
          <p:spPr bwMode="auto">
            <a:xfrm>
              <a:off x="3543" y="1562"/>
              <a:ext cx="915" cy="121"/>
            </a:xfrm>
            <a:prstGeom prst="rect">
              <a:avLst/>
            </a:prstGeom>
            <a:noFill/>
            <a:ln w="12700">
              <a:noFill/>
              <a:miter lim="800000"/>
              <a:headEnd type="none" w="sm" len="sm"/>
              <a:tailEnd type="none" w="sm" len="sm"/>
            </a:ln>
            <a:effectLst/>
          </p:spPr>
          <p:txBody>
            <a:bodyPr wrap="none" lIns="0" tIns="0" rIns="0" bIns="0">
              <a:spAutoFit/>
            </a:bodyPr>
            <a:lstStyle/>
            <a:p>
              <a:pPr>
                <a:lnSpc>
                  <a:spcPct val="90000"/>
                </a:lnSpc>
                <a:spcBef>
                  <a:spcPct val="0"/>
                </a:spcBef>
              </a:pPr>
              <a:r>
                <a:rPr lang="en-US" altLang="ja-JP" sz="1400" b="0" dirty="0">
                  <a:solidFill>
                    <a:schemeClr val="bg1"/>
                  </a:solidFill>
                  <a:latin typeface="Arial Black" pitchFamily="34" charset="0"/>
                  <a:ea typeface="ＭＳ Ｐゴシック" charset="-128"/>
                </a:rPr>
                <a:t>GPS Collection</a:t>
              </a:r>
            </a:p>
          </p:txBody>
        </p:sp>
        <p:sp>
          <p:nvSpPr>
            <p:cNvPr id="31752" name="Text Box 8"/>
            <p:cNvSpPr txBox="1">
              <a:spLocks noChangeArrowheads="1"/>
            </p:cNvSpPr>
            <p:nvPr/>
          </p:nvSpPr>
          <p:spPr bwMode="auto">
            <a:xfrm>
              <a:off x="4343" y="3739"/>
              <a:ext cx="417" cy="121"/>
            </a:xfrm>
            <a:prstGeom prst="rect">
              <a:avLst/>
            </a:prstGeom>
            <a:noFill/>
            <a:ln w="12700">
              <a:noFill/>
              <a:miter lim="800000"/>
              <a:headEnd type="none" w="sm" len="sm"/>
              <a:tailEnd type="none" w="sm" len="sm"/>
            </a:ln>
            <a:effectLst/>
          </p:spPr>
          <p:txBody>
            <a:bodyPr wrap="none" lIns="0" tIns="0" rIns="0" bIns="0">
              <a:spAutoFit/>
            </a:bodyPr>
            <a:lstStyle/>
            <a:p>
              <a:pPr>
                <a:lnSpc>
                  <a:spcPct val="90000"/>
                </a:lnSpc>
                <a:spcBef>
                  <a:spcPct val="0"/>
                </a:spcBef>
              </a:pPr>
              <a:r>
                <a:rPr lang="en-US" altLang="ja-JP" sz="1400" b="0" dirty="0">
                  <a:solidFill>
                    <a:srgbClr val="1212B0"/>
                  </a:solidFill>
                  <a:latin typeface="Arial Black" pitchFamily="34" charset="0"/>
                  <a:ea typeface="ＭＳ Ｐゴシック" charset="-128"/>
                </a:rPr>
                <a:t>Survey</a:t>
              </a:r>
            </a:p>
          </p:txBody>
        </p:sp>
        <p:sp>
          <p:nvSpPr>
            <p:cNvPr id="31753" name="Text Box 9"/>
            <p:cNvSpPr txBox="1">
              <a:spLocks noChangeArrowheads="1"/>
            </p:cNvSpPr>
            <p:nvPr/>
          </p:nvSpPr>
          <p:spPr bwMode="auto">
            <a:xfrm>
              <a:off x="3744" y="2932"/>
              <a:ext cx="1215" cy="242"/>
            </a:xfrm>
            <a:prstGeom prst="rect">
              <a:avLst/>
            </a:prstGeom>
            <a:noFill/>
            <a:ln w="12700">
              <a:noFill/>
              <a:miter lim="800000"/>
              <a:headEnd type="none" w="sm" len="sm"/>
              <a:tailEnd type="none" w="sm" len="sm"/>
            </a:ln>
            <a:effectLst/>
          </p:spPr>
          <p:txBody>
            <a:bodyPr wrap="none" lIns="0" tIns="0" rIns="0" bIns="0">
              <a:spAutoFit/>
            </a:bodyPr>
            <a:lstStyle/>
            <a:p>
              <a:pPr>
                <a:lnSpc>
                  <a:spcPct val="90000"/>
                </a:lnSpc>
                <a:spcBef>
                  <a:spcPct val="0"/>
                </a:spcBef>
              </a:pPr>
              <a:r>
                <a:rPr lang="en-US" altLang="ja-JP" sz="1400" b="0">
                  <a:solidFill>
                    <a:srgbClr val="1212B0"/>
                  </a:solidFill>
                  <a:latin typeface="Arial Black" pitchFamily="34" charset="0"/>
                  <a:ea typeface="ＭＳ Ｐゴシック" charset="-128"/>
                </a:rPr>
                <a:t>Bulldozer Operation</a:t>
              </a:r>
              <a:br>
                <a:rPr lang="en-US" altLang="ja-JP" sz="1400" b="0">
                  <a:solidFill>
                    <a:srgbClr val="1212B0"/>
                  </a:solidFill>
                  <a:latin typeface="Arial Black" pitchFamily="34" charset="0"/>
                  <a:ea typeface="ＭＳ Ｐゴシック" charset="-128"/>
                </a:rPr>
              </a:br>
              <a:r>
                <a:rPr lang="en-US" altLang="ja-JP" sz="1400" b="0">
                  <a:solidFill>
                    <a:srgbClr val="1212B0"/>
                  </a:solidFill>
                  <a:latin typeface="Arial Black" pitchFamily="34" charset="0"/>
                  <a:ea typeface="ＭＳ Ｐゴシック" charset="-128"/>
                </a:rPr>
                <a:t>System</a:t>
              </a:r>
            </a:p>
          </p:txBody>
        </p:sp>
        <p:sp>
          <p:nvSpPr>
            <p:cNvPr id="31754" name="Text Box 10"/>
            <p:cNvSpPr txBox="1">
              <a:spLocks noChangeArrowheads="1"/>
            </p:cNvSpPr>
            <p:nvPr/>
          </p:nvSpPr>
          <p:spPr bwMode="auto">
            <a:xfrm>
              <a:off x="884" y="2499"/>
              <a:ext cx="1103" cy="242"/>
            </a:xfrm>
            <a:prstGeom prst="rect">
              <a:avLst/>
            </a:prstGeom>
            <a:noFill/>
            <a:ln w="12700">
              <a:noFill/>
              <a:miter lim="800000"/>
              <a:headEnd type="none" w="sm" len="sm"/>
              <a:tailEnd type="none" w="sm" len="sm"/>
            </a:ln>
            <a:effectLst/>
          </p:spPr>
          <p:txBody>
            <a:bodyPr wrap="none" lIns="0" tIns="0" rIns="0" bIns="0">
              <a:spAutoFit/>
            </a:bodyPr>
            <a:lstStyle/>
            <a:p>
              <a:pPr>
                <a:lnSpc>
                  <a:spcPct val="90000"/>
                </a:lnSpc>
                <a:spcBef>
                  <a:spcPct val="0"/>
                </a:spcBef>
              </a:pPr>
              <a:r>
                <a:rPr lang="en-US" altLang="ja-JP" sz="1400" b="0" dirty="0">
                  <a:solidFill>
                    <a:srgbClr val="1212B0"/>
                  </a:solidFill>
                  <a:latin typeface="Arial Black" pitchFamily="34" charset="0"/>
                  <a:ea typeface="ＭＳ Ｐゴシック" charset="-128"/>
                </a:rPr>
                <a:t>Digging Operation</a:t>
              </a:r>
              <a:br>
                <a:rPr lang="en-US" altLang="ja-JP" sz="1400" b="0" dirty="0">
                  <a:solidFill>
                    <a:srgbClr val="1212B0"/>
                  </a:solidFill>
                  <a:latin typeface="Arial Black" pitchFamily="34" charset="0"/>
                  <a:ea typeface="ＭＳ Ｐゴシック" charset="-128"/>
                </a:rPr>
              </a:br>
              <a:r>
                <a:rPr lang="en-US" altLang="ja-JP" sz="1400" b="0" dirty="0">
                  <a:solidFill>
                    <a:srgbClr val="1212B0"/>
                  </a:solidFill>
                  <a:latin typeface="Arial Black" pitchFamily="34" charset="0"/>
                  <a:ea typeface="ＭＳ Ｐゴシック" charset="-128"/>
                </a:rPr>
                <a:t>System</a:t>
              </a:r>
            </a:p>
          </p:txBody>
        </p:sp>
        <p:sp>
          <p:nvSpPr>
            <p:cNvPr id="31755" name="Text Box 11"/>
            <p:cNvSpPr txBox="1">
              <a:spLocks noChangeArrowheads="1"/>
            </p:cNvSpPr>
            <p:nvPr/>
          </p:nvSpPr>
          <p:spPr bwMode="auto">
            <a:xfrm>
              <a:off x="1286" y="3633"/>
              <a:ext cx="1033" cy="242"/>
            </a:xfrm>
            <a:prstGeom prst="rect">
              <a:avLst/>
            </a:prstGeom>
            <a:noFill/>
            <a:ln w="12700">
              <a:noFill/>
              <a:miter lim="800000"/>
              <a:headEnd type="none" w="sm" len="sm"/>
              <a:tailEnd type="none" w="sm" len="sm"/>
            </a:ln>
            <a:effectLst/>
          </p:spPr>
          <p:txBody>
            <a:bodyPr wrap="none" lIns="0" tIns="0" rIns="0" bIns="0">
              <a:spAutoFit/>
            </a:bodyPr>
            <a:lstStyle/>
            <a:p>
              <a:pPr>
                <a:lnSpc>
                  <a:spcPct val="90000"/>
                </a:lnSpc>
                <a:spcBef>
                  <a:spcPct val="0"/>
                </a:spcBef>
              </a:pPr>
              <a:r>
                <a:rPr lang="en-US" altLang="ja-JP" sz="1400" b="0" dirty="0">
                  <a:solidFill>
                    <a:srgbClr val="1212B0"/>
                  </a:solidFill>
                  <a:latin typeface="Arial Black" pitchFamily="34" charset="0"/>
                  <a:ea typeface="ＭＳ Ｐゴシック" charset="-128"/>
                </a:rPr>
                <a:t>Dump Truck</a:t>
              </a:r>
              <a:br>
                <a:rPr lang="en-US" altLang="ja-JP" sz="1400" b="0" dirty="0">
                  <a:solidFill>
                    <a:srgbClr val="1212B0"/>
                  </a:solidFill>
                  <a:latin typeface="Arial Black" pitchFamily="34" charset="0"/>
                  <a:ea typeface="ＭＳ Ｐゴシック" charset="-128"/>
                </a:rPr>
              </a:br>
              <a:r>
                <a:rPr lang="en-US" altLang="ja-JP" sz="1400" b="0" dirty="0">
                  <a:solidFill>
                    <a:srgbClr val="1212B0"/>
                  </a:solidFill>
                  <a:latin typeface="Arial Black" pitchFamily="34" charset="0"/>
                  <a:ea typeface="ＭＳ Ｐゴシック" charset="-128"/>
                </a:rPr>
                <a:t>Dispatch System</a:t>
              </a:r>
            </a:p>
          </p:txBody>
        </p:sp>
      </p:grpSp>
      <p:sp>
        <p:nvSpPr>
          <p:cNvPr id="31756" name="Rectangle 12"/>
          <p:cNvSpPr>
            <a:spLocks noChangeArrowheads="1"/>
          </p:cNvSpPr>
          <p:nvPr/>
        </p:nvSpPr>
        <p:spPr bwMode="auto">
          <a:xfrm>
            <a:off x="251520" y="38477"/>
            <a:ext cx="6408712" cy="582211"/>
          </a:xfrm>
          <a:prstGeom prst="rect">
            <a:avLst/>
          </a:prstGeom>
          <a:noFill/>
          <a:ln w="12700">
            <a:noFill/>
            <a:miter lim="800000"/>
            <a:headEnd/>
            <a:tailEnd/>
          </a:ln>
          <a:effectLst/>
        </p:spPr>
        <p:txBody>
          <a:bodyPr wrap="square" lIns="90488" tIns="44450" rIns="90488" bIns="44450">
            <a:spAutoFit/>
          </a:bodyPr>
          <a:lstStyle/>
          <a:p>
            <a:pPr>
              <a:lnSpc>
                <a:spcPct val="100000"/>
              </a:lnSpc>
              <a:spcBef>
                <a:spcPct val="0"/>
              </a:spcBef>
            </a:pPr>
            <a:r>
              <a:rPr lang="en-US" altLang="ja-JP" sz="3200" b="0" dirty="0" smtClean="0">
                <a:solidFill>
                  <a:schemeClr val="bg1"/>
                </a:solidFill>
                <a:latin typeface="Impact" pitchFamily="34" charset="0"/>
                <a:ea typeface="ＭＳ Ｐゴシック" charset="-128"/>
              </a:rPr>
              <a:t>MINES MANAGEMENT SYSTEM </a:t>
            </a:r>
            <a:endParaRPr lang="en-US" altLang="ja-JP" sz="4000" dirty="0">
              <a:solidFill>
                <a:schemeClr val="bg1"/>
              </a:solidFill>
              <a:latin typeface="Impact" pitchFamily="34" charset="0"/>
              <a:ea typeface="ＭＳ Ｐゴシック" charset="-128"/>
            </a:endParaRPr>
          </a:p>
        </p:txBody>
      </p:sp>
      <p:sp>
        <p:nvSpPr>
          <p:cNvPr id="31759" name="Rectangle 15"/>
          <p:cNvSpPr>
            <a:spLocks noChangeArrowheads="1"/>
          </p:cNvSpPr>
          <p:nvPr/>
        </p:nvSpPr>
        <p:spPr bwMode="auto">
          <a:xfrm>
            <a:off x="8458200" y="76200"/>
            <a:ext cx="533400" cy="304800"/>
          </a:xfrm>
          <a:prstGeom prst="rect">
            <a:avLst/>
          </a:prstGeom>
          <a:noFill/>
          <a:ln w="9525">
            <a:noFill/>
            <a:miter lim="800000"/>
            <a:headEnd/>
            <a:tailEnd/>
          </a:ln>
          <a:effectLst/>
        </p:spPr>
        <p:txBody>
          <a:bodyPr wrap="none" lIns="0" tIns="0" rIns="0" bIns="0" anchor="ctr"/>
          <a:lstStyle/>
          <a:p>
            <a:pPr algn="l">
              <a:lnSpc>
                <a:spcPct val="100000"/>
              </a:lnSpc>
              <a:spcBef>
                <a:spcPct val="0"/>
              </a:spcBef>
            </a:pPr>
            <a:endParaRPr lang="en-US" sz="1400" b="0" dirty="0">
              <a:solidFill>
                <a:schemeClr val="bg1"/>
              </a:solidFill>
              <a:latin typeface="Impact" pitchFamily="34" charset="0"/>
            </a:endParaRPr>
          </a:p>
        </p:txBody>
      </p:sp>
      <p:sp>
        <p:nvSpPr>
          <p:cNvPr id="3" name="TextBox 2"/>
          <p:cNvSpPr txBox="1"/>
          <p:nvPr/>
        </p:nvSpPr>
        <p:spPr>
          <a:xfrm>
            <a:off x="539552" y="620688"/>
            <a:ext cx="2542804" cy="400110"/>
          </a:xfrm>
          <a:prstGeom prst="rect">
            <a:avLst/>
          </a:prstGeom>
          <a:noFill/>
        </p:spPr>
        <p:txBody>
          <a:bodyPr wrap="square" rtlCol="0">
            <a:spAutoFit/>
          </a:bodyPr>
          <a:lstStyle/>
          <a:p>
            <a:r>
              <a:rPr lang="en-US" sz="2000" b="1" dirty="0" err="1" smtClean="0"/>
              <a:t>Modulur</a:t>
            </a:r>
            <a:r>
              <a:rPr lang="en-US" sz="2000" b="1" dirty="0" smtClean="0"/>
              <a:t> Mining</a:t>
            </a:r>
            <a:endParaRPr lang="en-IN" sz="2000" b="1" dirty="0"/>
          </a:p>
        </p:txBody>
      </p:sp>
    </p:spTree>
    <p:extLst>
      <p:ext uri="{BB962C8B-B14F-4D97-AF65-F5344CB8AC3E}">
        <p14:creationId xmlns:p14="http://schemas.microsoft.com/office/powerpoint/2010/main" val="2771443317"/>
      </p:ext>
    </p:extLst>
  </p:cSld>
  <p:clrMapOvr>
    <a:masterClrMapping/>
  </p:clrMapOvr>
  <p:transition/>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7" name="Rectangle 3">
            <a:hlinkClick r:id="" action="ppaction://hlinkshowjump?jump=nextslide" tooltip="next slide"/>
          </p:cNvPr>
          <p:cNvSpPr>
            <a:spLocks noChangeArrowheads="1"/>
          </p:cNvSpPr>
          <p:nvPr/>
        </p:nvSpPr>
        <p:spPr bwMode="auto">
          <a:xfrm>
            <a:off x="4572000" y="6553200"/>
            <a:ext cx="685800" cy="304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1748" name="Rectangle 4">
            <a:hlinkClick r:id="" action="ppaction://hlinkshowjump?jump=previousslide" tooltip="previous slide"/>
          </p:cNvPr>
          <p:cNvSpPr>
            <a:spLocks noChangeArrowheads="1"/>
          </p:cNvSpPr>
          <p:nvPr/>
        </p:nvSpPr>
        <p:spPr bwMode="auto">
          <a:xfrm>
            <a:off x="3886200" y="6553200"/>
            <a:ext cx="685800" cy="304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1749" name="Rectangle 5">
            <a:hlinkClick r:id="" action="ppaction://hlinkshowjump?jump=previousslide" tooltip="previous slide"/>
          </p:cNvPr>
          <p:cNvSpPr>
            <a:spLocks noChangeArrowheads="1"/>
          </p:cNvSpPr>
          <p:nvPr/>
        </p:nvSpPr>
        <p:spPr bwMode="auto">
          <a:xfrm>
            <a:off x="3429000" y="6553200"/>
            <a:ext cx="685800" cy="304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1750" name="Rectangle 6">
            <a:hlinkClick r:id="" action="ppaction://hlinkshowjump?jump=nextslide" tooltip="next slide"/>
          </p:cNvPr>
          <p:cNvSpPr>
            <a:spLocks noChangeArrowheads="1"/>
          </p:cNvSpPr>
          <p:nvPr/>
        </p:nvSpPr>
        <p:spPr bwMode="auto">
          <a:xfrm>
            <a:off x="5029200" y="6553200"/>
            <a:ext cx="685800" cy="304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1751" name="Rectangle 7">
            <a:hlinkClick r:id="rId2" action="ppaction://hlinkpres?slideindex=3&amp;slidetitle=Slide 3" tooltip="go to Presentations Main Menu"/>
          </p:cNvPr>
          <p:cNvSpPr>
            <a:spLocks noChangeArrowheads="1"/>
          </p:cNvSpPr>
          <p:nvPr/>
        </p:nvSpPr>
        <p:spPr bwMode="auto">
          <a:xfrm>
            <a:off x="4114800" y="6553200"/>
            <a:ext cx="914400" cy="304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1752" name="Rectangle 8">
            <a:hlinkClick r:id="" action="ppaction://hlinkshowjump?jump=firstslide" tooltip="go to beginning of this presentation"/>
          </p:cNvPr>
          <p:cNvSpPr>
            <a:spLocks noChangeArrowheads="1"/>
          </p:cNvSpPr>
          <p:nvPr/>
        </p:nvSpPr>
        <p:spPr bwMode="auto">
          <a:xfrm>
            <a:off x="6400800" y="6553200"/>
            <a:ext cx="2743200" cy="304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pic>
        <p:nvPicPr>
          <p:cNvPr id="10" name="Picture 9" descr="Modular - Products Overview 2-6"/>
          <p:cNvPicPr>
            <a:picLocks noChangeAspect="1" noChangeArrowheads="1"/>
          </p:cNvPicPr>
          <p:nvPr/>
        </p:nvPicPr>
        <p:blipFill rotWithShape="1">
          <a:blip r:embed="rId3" cstate="email">
            <a:extLst>
              <a:ext uri="{28A0092B-C50C-407E-A947-70E740481C1C}">
                <a14:useLocalDpi xmlns:a14="http://schemas.microsoft.com/office/drawing/2010/main"/>
              </a:ext>
            </a:extLst>
          </a:blip>
          <a:srcRect t="30707" b="23334"/>
          <a:stretch/>
        </p:blipFill>
        <p:spPr bwMode="auto">
          <a:xfrm>
            <a:off x="142623" y="1340768"/>
            <a:ext cx="8878781" cy="3816424"/>
          </a:xfrm>
          <a:prstGeom prst="rect">
            <a:avLst/>
          </a:prstGeom>
          <a:noFill/>
          <a:extLst>
            <a:ext uri="{909E8E84-426E-40DD-AFC4-6F175D3DCCD1}">
              <a14:hiddenFill xmlns:a14="http://schemas.microsoft.com/office/drawing/2010/main">
                <a:solidFill>
                  <a:srgbClr val="FFFFFF"/>
                </a:solidFill>
              </a14:hiddenFill>
            </a:ext>
          </a:extLst>
        </p:spPr>
      </p:pic>
      <p:sp>
        <p:nvSpPr>
          <p:cNvPr id="2" name="TextBox 1"/>
          <p:cNvSpPr txBox="1"/>
          <p:nvPr/>
        </p:nvSpPr>
        <p:spPr>
          <a:xfrm>
            <a:off x="395536" y="44624"/>
            <a:ext cx="4824590" cy="523220"/>
          </a:xfrm>
          <a:prstGeom prst="rect">
            <a:avLst/>
          </a:prstGeom>
          <a:noFill/>
        </p:spPr>
        <p:txBody>
          <a:bodyPr wrap="none" rtlCol="0">
            <a:spAutoFit/>
          </a:bodyPr>
          <a:lstStyle/>
          <a:p>
            <a:r>
              <a:rPr lang="en-US" sz="2800" b="1" dirty="0">
                <a:solidFill>
                  <a:schemeClr val="bg1"/>
                </a:solidFill>
                <a:latin typeface="+mj-lt"/>
                <a:ea typeface="Arial Unicode MS" pitchFamily="34" charset="-128"/>
                <a:cs typeface="Arial Unicode MS" pitchFamily="34" charset="-128"/>
              </a:rPr>
              <a:t>Mine Management Packages</a:t>
            </a:r>
          </a:p>
        </p:txBody>
      </p:sp>
    </p:spTree>
    <p:extLst>
      <p:ext uri="{BB962C8B-B14F-4D97-AF65-F5344CB8AC3E}">
        <p14:creationId xmlns:p14="http://schemas.microsoft.com/office/powerpoint/2010/main" val="111208915"/>
      </p:ext>
    </p:extLst>
  </p:cSld>
  <p:clrMapOvr>
    <a:masterClrMapping/>
  </p:clrMapOvr>
  <p:transition spd="slow">
    <p:wipe/>
  </p:transition>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722313" y="2636912"/>
            <a:ext cx="7772400" cy="738311"/>
          </a:xfrm>
        </p:spPr>
        <p:txBody>
          <a:bodyPr/>
          <a:lstStyle/>
          <a:p>
            <a:pPr algn="ctr"/>
            <a:r>
              <a:rPr lang="en-US" sz="3200" b="1" dirty="0" smtClean="0"/>
              <a:t>Safety Features</a:t>
            </a:r>
            <a:endParaRPr lang="en-IN" sz="3200" b="1" dirty="0"/>
          </a:p>
        </p:txBody>
      </p:sp>
    </p:spTree>
    <p:extLst>
      <p:ext uri="{BB962C8B-B14F-4D97-AF65-F5344CB8AC3E}">
        <p14:creationId xmlns:p14="http://schemas.microsoft.com/office/powerpoint/2010/main" val="3946182791"/>
      </p:ext>
    </p:extLst>
  </p:cSld>
  <p:clrMapOvr>
    <a:masterClrMapping/>
  </p:clrMapOvr>
  <p:transition spd="slow">
    <p:wipe/>
  </p:transition>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Text Placeholder 1"/>
          <p:cNvSpPr>
            <a:spLocks noGrp="1"/>
          </p:cNvSpPr>
          <p:nvPr>
            <p:ph type="body" sz="quarter" idx="11"/>
          </p:nvPr>
        </p:nvSpPr>
        <p:spPr>
          <a:xfrm>
            <a:off x="152400" y="58444"/>
            <a:ext cx="7803976" cy="634252"/>
          </a:xfrm>
        </p:spPr>
        <p:txBody>
          <a:bodyPr anchor="ctr"/>
          <a:lstStyle/>
          <a:p>
            <a:r>
              <a:rPr lang="en-US" b="1" dirty="0" smtClean="0">
                <a:latin typeface="+mj-lt"/>
              </a:rPr>
              <a:t>SAFETY FIRST:  Features</a:t>
            </a:r>
            <a:endParaRPr lang="en-US" b="1" dirty="0">
              <a:latin typeface="+mj-lt"/>
            </a:endParaRPr>
          </a:p>
        </p:txBody>
      </p:sp>
      <p:graphicFrame>
        <p:nvGraphicFramePr>
          <p:cNvPr id="3" name="Object 2"/>
          <p:cNvGraphicFramePr>
            <a:graphicFrameLocks noChangeAspect="1"/>
          </p:cNvGraphicFramePr>
          <p:nvPr>
            <p:extLst>
              <p:ext uri="{D42A27DB-BD31-4B8C-83A1-F6EECF244321}">
                <p14:modId xmlns:p14="http://schemas.microsoft.com/office/powerpoint/2010/main" val="3638689572"/>
              </p:ext>
            </p:extLst>
          </p:nvPr>
        </p:nvGraphicFramePr>
        <p:xfrm>
          <a:off x="304800" y="1523975"/>
          <a:ext cx="3933825" cy="3705225"/>
        </p:xfrm>
        <a:graphic>
          <a:graphicData uri="http://schemas.openxmlformats.org/presentationml/2006/ole">
            <mc:AlternateContent xmlns:mc="http://schemas.openxmlformats.org/markup-compatibility/2006">
              <mc:Choice xmlns:v="urn:schemas-microsoft-com:vml" Requires="v">
                <p:oleObj spid="_x0000_s11280" name="Bitmap Image" r:id="rId3" imgW="5885714" imgH="5544324" progId="Paint.Picture">
                  <p:embed/>
                </p:oleObj>
              </mc:Choice>
              <mc:Fallback>
                <p:oleObj name="Bitmap Image" r:id="rId3" imgW="5885714" imgH="5544324" progId="Paint.Picture">
                  <p:embed/>
                  <p:pic>
                    <p:nvPicPr>
                      <p:cNvPr id="0" name=""/>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04800" y="1523975"/>
                        <a:ext cx="3933825" cy="37052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sp>
        <p:nvSpPr>
          <p:cNvPr id="4" name="Rectangle 4"/>
          <p:cNvSpPr>
            <a:spLocks noChangeArrowheads="1"/>
          </p:cNvSpPr>
          <p:nvPr/>
        </p:nvSpPr>
        <p:spPr bwMode="auto">
          <a:xfrm>
            <a:off x="4419600" y="908720"/>
            <a:ext cx="4191000" cy="400110"/>
          </a:xfrm>
          <a:prstGeom prst="rect">
            <a:avLst/>
          </a:prstGeom>
          <a:solidFill>
            <a:schemeClr val="bg1"/>
          </a:solidFill>
          <a:ln w="9525">
            <a:solidFill>
              <a:srgbClr val="0000CC"/>
            </a:solidFill>
            <a:miter lim="800000"/>
            <a:headEnd/>
            <a:tailEnd/>
          </a:ln>
        </p:spPr>
        <p:txBody>
          <a:bodyPr>
            <a:spAutoFit/>
          </a:bodyPr>
          <a:lstStyle/>
          <a:p>
            <a:pPr marL="342900" indent="-342900">
              <a:spcBef>
                <a:spcPct val="20000"/>
              </a:spcBef>
              <a:buFontTx/>
              <a:buChar char="•"/>
            </a:pPr>
            <a:r>
              <a:rPr lang="en-US" altLang="ja-JP" sz="2000" dirty="0">
                <a:solidFill>
                  <a:schemeClr val="hlink"/>
                </a:solidFill>
                <a:latin typeface="Trebuchet MS" pitchFamily="34" charset="0"/>
                <a:ea typeface="ＭＳ Ｐゴシック" charset="-128"/>
              </a:rPr>
              <a:t>Rear View Camera and </a:t>
            </a:r>
            <a:r>
              <a:rPr lang="en-US" altLang="ja-JP" sz="2000" dirty="0" smtClean="0">
                <a:solidFill>
                  <a:schemeClr val="hlink"/>
                </a:solidFill>
                <a:latin typeface="Trebuchet MS" pitchFamily="34" charset="0"/>
                <a:ea typeface="ＭＳ Ｐゴシック" charset="-128"/>
              </a:rPr>
              <a:t>Monitor </a:t>
            </a:r>
            <a:endParaRPr lang="en-US" altLang="ja-JP" sz="2000" dirty="0">
              <a:solidFill>
                <a:schemeClr val="hlink"/>
              </a:solidFill>
              <a:latin typeface="Trebuchet MS" pitchFamily="34" charset="0"/>
              <a:ea typeface="ＭＳ Ｐゴシック" charset="-128"/>
            </a:endParaRPr>
          </a:p>
        </p:txBody>
      </p:sp>
      <p:sp>
        <p:nvSpPr>
          <p:cNvPr id="5" name="Rectangle 5"/>
          <p:cNvSpPr>
            <a:spLocks noChangeArrowheads="1"/>
          </p:cNvSpPr>
          <p:nvPr/>
        </p:nvSpPr>
        <p:spPr bwMode="auto">
          <a:xfrm>
            <a:off x="4495800" y="1556792"/>
            <a:ext cx="4191000" cy="406400"/>
          </a:xfrm>
          <a:prstGeom prst="rect">
            <a:avLst/>
          </a:prstGeom>
          <a:solidFill>
            <a:schemeClr val="bg1"/>
          </a:solidFill>
          <a:ln w="9525">
            <a:solidFill>
              <a:srgbClr val="0000CC"/>
            </a:solidFill>
            <a:miter lim="800000"/>
            <a:headEnd/>
            <a:tailEnd/>
          </a:ln>
        </p:spPr>
        <p:txBody>
          <a:bodyPr>
            <a:spAutoFit/>
          </a:bodyPr>
          <a:lstStyle/>
          <a:p>
            <a:pPr marL="342900" indent="-342900">
              <a:spcBef>
                <a:spcPct val="20000"/>
              </a:spcBef>
              <a:buFontTx/>
              <a:buChar char="•"/>
            </a:pPr>
            <a:r>
              <a:rPr lang="en-US" altLang="ja-JP" sz="2000" dirty="0">
                <a:solidFill>
                  <a:schemeClr val="hlink"/>
                </a:solidFill>
                <a:latin typeface="Trebuchet MS" pitchFamily="34" charset="0"/>
                <a:ea typeface="ＭＳ Ｐゴシック" charset="-128"/>
              </a:rPr>
              <a:t>Payload Meter </a:t>
            </a:r>
          </a:p>
        </p:txBody>
      </p:sp>
      <p:sp>
        <p:nvSpPr>
          <p:cNvPr id="6" name="Rectangle 6"/>
          <p:cNvSpPr>
            <a:spLocks noChangeArrowheads="1"/>
          </p:cNvSpPr>
          <p:nvPr/>
        </p:nvSpPr>
        <p:spPr bwMode="auto">
          <a:xfrm>
            <a:off x="4499992" y="5310088"/>
            <a:ext cx="4191000" cy="400110"/>
          </a:xfrm>
          <a:prstGeom prst="rect">
            <a:avLst/>
          </a:prstGeom>
          <a:solidFill>
            <a:schemeClr val="bg1"/>
          </a:solidFill>
          <a:ln w="9525">
            <a:solidFill>
              <a:srgbClr val="0000CC"/>
            </a:solidFill>
            <a:miter lim="800000"/>
            <a:headEnd/>
            <a:tailEnd/>
          </a:ln>
        </p:spPr>
        <p:txBody>
          <a:bodyPr>
            <a:spAutoFit/>
          </a:bodyPr>
          <a:lstStyle/>
          <a:p>
            <a:pPr marL="342900" indent="-342900">
              <a:spcBef>
                <a:spcPct val="20000"/>
              </a:spcBef>
              <a:buFontTx/>
              <a:buChar char="•"/>
            </a:pPr>
            <a:r>
              <a:rPr lang="en-US" altLang="ja-JP" sz="2000" dirty="0">
                <a:solidFill>
                  <a:schemeClr val="hlink"/>
                </a:solidFill>
                <a:latin typeface="Trebuchet MS" pitchFamily="34" charset="0"/>
                <a:ea typeface="ＭＳ Ｐゴシック" charset="-128"/>
              </a:rPr>
              <a:t>Antilock Brake System (ABS</a:t>
            </a:r>
            <a:r>
              <a:rPr lang="en-US" altLang="ja-JP" sz="2000" dirty="0" smtClean="0">
                <a:solidFill>
                  <a:schemeClr val="hlink"/>
                </a:solidFill>
                <a:latin typeface="Trebuchet MS" pitchFamily="34" charset="0"/>
                <a:ea typeface="ＭＳ Ｐゴシック" charset="-128"/>
              </a:rPr>
              <a:t>)</a:t>
            </a:r>
            <a:endParaRPr lang="en-US" altLang="ja-JP" sz="2000" dirty="0">
              <a:solidFill>
                <a:schemeClr val="hlink"/>
              </a:solidFill>
              <a:latin typeface="Trebuchet MS" pitchFamily="34" charset="0"/>
              <a:ea typeface="ＭＳ Ｐゴシック" charset="-128"/>
            </a:endParaRPr>
          </a:p>
        </p:txBody>
      </p:sp>
      <p:sp>
        <p:nvSpPr>
          <p:cNvPr id="7" name="Rectangle 7"/>
          <p:cNvSpPr>
            <a:spLocks noChangeArrowheads="1"/>
          </p:cNvSpPr>
          <p:nvPr/>
        </p:nvSpPr>
        <p:spPr bwMode="auto">
          <a:xfrm>
            <a:off x="4495800" y="2996952"/>
            <a:ext cx="4191000" cy="400110"/>
          </a:xfrm>
          <a:prstGeom prst="rect">
            <a:avLst/>
          </a:prstGeom>
          <a:solidFill>
            <a:schemeClr val="bg1"/>
          </a:solidFill>
          <a:ln w="9525">
            <a:solidFill>
              <a:srgbClr val="0000CC"/>
            </a:solidFill>
            <a:miter lim="800000"/>
            <a:headEnd/>
            <a:tailEnd/>
          </a:ln>
        </p:spPr>
        <p:txBody>
          <a:bodyPr>
            <a:spAutoFit/>
          </a:bodyPr>
          <a:lstStyle/>
          <a:p>
            <a:pPr marL="342900" indent="-342900">
              <a:spcBef>
                <a:spcPct val="20000"/>
              </a:spcBef>
              <a:buFontTx/>
              <a:buChar char="•"/>
            </a:pPr>
            <a:r>
              <a:rPr lang="en-US" altLang="ja-JP" sz="2000" dirty="0">
                <a:solidFill>
                  <a:schemeClr val="hlink"/>
                </a:solidFill>
                <a:latin typeface="Trebuchet MS" pitchFamily="34" charset="0"/>
                <a:ea typeface="ＭＳ Ｐゴシック" charset="-128"/>
              </a:rPr>
              <a:t>Auto Spin Regulator (ASR</a:t>
            </a:r>
            <a:r>
              <a:rPr lang="en-US" altLang="ja-JP" sz="2000" dirty="0" smtClean="0">
                <a:solidFill>
                  <a:schemeClr val="hlink"/>
                </a:solidFill>
                <a:latin typeface="Trebuchet MS" pitchFamily="34" charset="0"/>
                <a:ea typeface="ＭＳ Ｐゴシック" charset="-128"/>
              </a:rPr>
              <a:t>)</a:t>
            </a:r>
            <a:endParaRPr lang="en-US" altLang="ja-JP" sz="2000" dirty="0">
              <a:solidFill>
                <a:schemeClr val="hlink"/>
              </a:solidFill>
              <a:latin typeface="Trebuchet MS" pitchFamily="34" charset="0"/>
              <a:ea typeface="ＭＳ Ｐゴシック" charset="-128"/>
            </a:endParaRPr>
          </a:p>
        </p:txBody>
      </p:sp>
      <p:sp>
        <p:nvSpPr>
          <p:cNvPr id="8" name="Rectangle 8"/>
          <p:cNvSpPr>
            <a:spLocks noChangeArrowheads="1"/>
          </p:cNvSpPr>
          <p:nvPr/>
        </p:nvSpPr>
        <p:spPr bwMode="auto">
          <a:xfrm>
            <a:off x="4495800" y="3645024"/>
            <a:ext cx="4191000" cy="711200"/>
          </a:xfrm>
          <a:prstGeom prst="rect">
            <a:avLst/>
          </a:prstGeom>
          <a:solidFill>
            <a:schemeClr val="bg1"/>
          </a:solidFill>
          <a:ln w="9525">
            <a:solidFill>
              <a:srgbClr val="0000CC"/>
            </a:solidFill>
            <a:miter lim="800000"/>
            <a:headEnd/>
            <a:tailEnd/>
          </a:ln>
        </p:spPr>
        <p:txBody>
          <a:bodyPr>
            <a:spAutoFit/>
          </a:bodyPr>
          <a:lstStyle/>
          <a:p>
            <a:pPr marL="342900" indent="-342900">
              <a:spcBef>
                <a:spcPct val="20000"/>
              </a:spcBef>
              <a:buFontTx/>
              <a:buChar char="•"/>
            </a:pPr>
            <a:r>
              <a:rPr lang="en-US" altLang="ja-JP" sz="2000" dirty="0">
                <a:solidFill>
                  <a:schemeClr val="hlink"/>
                </a:solidFill>
                <a:latin typeface="Trebuchet MS" pitchFamily="34" charset="0"/>
                <a:ea typeface="ＭＳ Ｐゴシック" charset="-128"/>
              </a:rPr>
              <a:t>Auto Fire Suppression System (AFSS) </a:t>
            </a:r>
          </a:p>
        </p:txBody>
      </p:sp>
      <p:sp>
        <p:nvSpPr>
          <p:cNvPr id="9" name="Rectangle 9"/>
          <p:cNvSpPr>
            <a:spLocks noChangeArrowheads="1"/>
          </p:cNvSpPr>
          <p:nvPr/>
        </p:nvSpPr>
        <p:spPr bwMode="auto">
          <a:xfrm>
            <a:off x="4495800" y="4509120"/>
            <a:ext cx="4191000" cy="711200"/>
          </a:xfrm>
          <a:prstGeom prst="rect">
            <a:avLst/>
          </a:prstGeom>
          <a:solidFill>
            <a:schemeClr val="bg1"/>
          </a:solidFill>
          <a:ln w="9525">
            <a:solidFill>
              <a:srgbClr val="0000CC"/>
            </a:solidFill>
            <a:miter lim="800000"/>
            <a:headEnd/>
            <a:tailEnd/>
          </a:ln>
        </p:spPr>
        <p:txBody>
          <a:bodyPr>
            <a:spAutoFit/>
          </a:bodyPr>
          <a:lstStyle/>
          <a:p>
            <a:pPr marL="342900" indent="-342900">
              <a:spcBef>
                <a:spcPct val="20000"/>
              </a:spcBef>
              <a:buFontTx/>
              <a:buChar char="•"/>
            </a:pPr>
            <a:r>
              <a:rPr lang="en-US" altLang="ja-JP" sz="2000" dirty="0">
                <a:solidFill>
                  <a:schemeClr val="hlink"/>
                </a:solidFill>
                <a:latin typeface="Trebuchet MS" pitchFamily="34" charset="0"/>
                <a:ea typeface="ＭＳ Ｐゴシック" charset="-128"/>
              </a:rPr>
              <a:t>Auto Centralized Lubrication  (ACLS) </a:t>
            </a:r>
          </a:p>
        </p:txBody>
      </p:sp>
      <p:sp>
        <p:nvSpPr>
          <p:cNvPr id="10" name="Rectangle 10"/>
          <p:cNvSpPr>
            <a:spLocks noChangeArrowheads="1"/>
          </p:cNvSpPr>
          <p:nvPr/>
        </p:nvSpPr>
        <p:spPr bwMode="auto">
          <a:xfrm>
            <a:off x="4419600" y="2132856"/>
            <a:ext cx="4191000" cy="711200"/>
          </a:xfrm>
          <a:prstGeom prst="rect">
            <a:avLst/>
          </a:prstGeom>
          <a:solidFill>
            <a:schemeClr val="bg1"/>
          </a:solidFill>
          <a:ln w="9525">
            <a:solidFill>
              <a:srgbClr val="0000CC"/>
            </a:solidFill>
            <a:miter lim="800000"/>
            <a:headEnd/>
            <a:tailEnd/>
          </a:ln>
        </p:spPr>
        <p:txBody>
          <a:bodyPr>
            <a:spAutoFit/>
          </a:bodyPr>
          <a:lstStyle/>
          <a:p>
            <a:pPr marL="342900" indent="-342900">
              <a:spcBef>
                <a:spcPct val="20000"/>
              </a:spcBef>
              <a:buFontTx/>
              <a:buChar char="•"/>
            </a:pPr>
            <a:r>
              <a:rPr lang="en-US" altLang="ja-JP" sz="2000" dirty="0">
                <a:solidFill>
                  <a:schemeClr val="hlink"/>
                </a:solidFill>
                <a:latin typeface="Trebuchet MS" pitchFamily="34" charset="0"/>
                <a:ea typeface="ＭＳ Ｐゴシック" charset="-128"/>
              </a:rPr>
              <a:t>Vehicle Health Monitoring System (VHMS</a:t>
            </a:r>
            <a:r>
              <a:rPr lang="en-US" altLang="ja-JP" sz="2000" dirty="0" smtClean="0">
                <a:solidFill>
                  <a:schemeClr val="hlink"/>
                </a:solidFill>
                <a:latin typeface="Trebuchet MS" pitchFamily="34" charset="0"/>
                <a:ea typeface="ＭＳ Ｐゴシック" charset="-128"/>
              </a:rPr>
              <a:t>)</a:t>
            </a:r>
            <a:endParaRPr lang="en-US" altLang="ja-JP" sz="2000" dirty="0">
              <a:solidFill>
                <a:schemeClr val="hlink"/>
              </a:solidFill>
              <a:latin typeface="Trebuchet MS" pitchFamily="34" charset="0"/>
              <a:ea typeface="ＭＳ Ｐゴシック" charset="-128"/>
            </a:endParaRPr>
          </a:p>
        </p:txBody>
      </p:sp>
    </p:spTree>
    <p:extLst>
      <p:ext uri="{BB962C8B-B14F-4D97-AF65-F5344CB8AC3E}">
        <p14:creationId xmlns:p14="http://schemas.microsoft.com/office/powerpoint/2010/main" val="1005299673"/>
      </p:ext>
    </p:extLst>
  </p:cSld>
  <p:clrMapOvr>
    <a:masterClrMapping/>
  </p:clrMapOvr>
  <p:transition spd="slow">
    <p:wipe/>
  </p:transition>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Rectangle 2"/>
          <p:cNvSpPr>
            <a:spLocks noGrp="1" noChangeArrowheads="1"/>
          </p:cNvSpPr>
          <p:nvPr>
            <p:ph type="subTitle" idx="1"/>
          </p:nvPr>
        </p:nvSpPr>
        <p:spPr>
          <a:xfrm>
            <a:off x="179512" y="504825"/>
            <a:ext cx="4724276" cy="2739211"/>
          </a:xfrm>
        </p:spPr>
        <p:txBody>
          <a:bodyPr wrap="square">
            <a:spAutoFit/>
          </a:bodyPr>
          <a:lstStyle/>
          <a:p>
            <a:pPr algn="l" eaLnBrk="1" hangingPunct="1">
              <a:buClr>
                <a:schemeClr val="tx2"/>
              </a:buClr>
            </a:pPr>
            <a:r>
              <a:rPr lang="en-GB" altLang="ja-JP" sz="2800" b="1" dirty="0" smtClean="0">
                <a:solidFill>
                  <a:schemeClr val="accent2"/>
                </a:solidFill>
                <a:ea typeface="ＭＳ Ｐゴシック" pitchFamily="34" charset="-128"/>
              </a:rPr>
              <a:t>  ARSC</a:t>
            </a:r>
            <a:r>
              <a:rPr lang="en-GB" altLang="ja-JP" sz="2400" b="1" dirty="0" smtClean="0">
                <a:solidFill>
                  <a:schemeClr val="accent2"/>
                </a:solidFill>
                <a:ea typeface="ＭＳ Ｐゴシック" pitchFamily="34" charset="-128"/>
              </a:rPr>
              <a:t> </a:t>
            </a:r>
          </a:p>
          <a:p>
            <a:pPr marL="342900" indent="-342900" algn="l" eaLnBrk="1" hangingPunct="1">
              <a:buClr>
                <a:schemeClr val="tx2"/>
              </a:buClr>
              <a:buFont typeface="Wingdings" pitchFamily="2" charset="2"/>
              <a:buChar char="§"/>
            </a:pPr>
            <a:r>
              <a:rPr lang="en-GB" altLang="ja-JP" sz="2000" b="1" dirty="0" smtClean="0">
                <a:ea typeface="ＭＳ Ｐゴシック" pitchFamily="34" charset="-128"/>
              </a:rPr>
              <a:t>Descending down hill in constant speed without retarding control</a:t>
            </a:r>
          </a:p>
          <a:p>
            <a:pPr marL="342900" indent="-342900" algn="l" eaLnBrk="1" hangingPunct="1">
              <a:buClr>
                <a:schemeClr val="tx2"/>
              </a:buClr>
              <a:buFont typeface="Wingdings" pitchFamily="2" charset="2"/>
              <a:buChar char="§"/>
            </a:pPr>
            <a:r>
              <a:rPr lang="en-GB" altLang="ja-JP" sz="2000" b="1" dirty="0" smtClean="0">
                <a:ea typeface="ＭＳ Ｐゴシック" pitchFamily="34" charset="-128"/>
              </a:rPr>
              <a:t>Descending speed can be set from 10 km/h to 55km/h </a:t>
            </a:r>
          </a:p>
          <a:p>
            <a:pPr marL="342900" indent="-342900" algn="l" eaLnBrk="1" hangingPunct="1">
              <a:buClr>
                <a:schemeClr val="tx2"/>
              </a:buClr>
              <a:buFont typeface="Wingdings" pitchFamily="2" charset="2"/>
              <a:buChar char="§"/>
            </a:pPr>
            <a:r>
              <a:rPr lang="en-GB" altLang="ja-JP" sz="2000" b="1" dirty="0" smtClean="0">
                <a:ea typeface="ＭＳ Ｐゴシック" pitchFamily="34" charset="-128"/>
              </a:rPr>
              <a:t>Adjusting pre-set speed </a:t>
            </a:r>
            <a:r>
              <a:rPr lang="ja-JP" altLang="en-GB" sz="2000" b="1" dirty="0" smtClean="0">
                <a:ea typeface="ＭＳ Ｐゴシック" pitchFamily="34" charset="-128"/>
              </a:rPr>
              <a:t>±</a:t>
            </a:r>
            <a:r>
              <a:rPr lang="en-US" altLang="ja-JP" sz="2000" b="1" dirty="0" smtClean="0">
                <a:ea typeface="ＭＳ Ｐゴシック" pitchFamily="34" charset="-128"/>
              </a:rPr>
              <a:t>1 </a:t>
            </a:r>
            <a:r>
              <a:rPr lang="en-GB" altLang="ja-JP" sz="2000" b="1" dirty="0" smtClean="0">
                <a:ea typeface="ＭＳ Ｐゴシック" pitchFamily="34" charset="-128"/>
              </a:rPr>
              <a:t>km/h</a:t>
            </a:r>
          </a:p>
          <a:p>
            <a:pPr marL="342900" indent="-342900" algn="l" eaLnBrk="1" hangingPunct="1">
              <a:buClr>
                <a:schemeClr val="tx2"/>
              </a:buClr>
              <a:buFont typeface="Wingdings" pitchFamily="2" charset="2"/>
              <a:buChar char="§"/>
            </a:pPr>
            <a:r>
              <a:rPr lang="en-GB" altLang="ja-JP" sz="2000" b="1" dirty="0" smtClean="0">
                <a:ea typeface="ＭＳ Ｐゴシック" pitchFamily="34" charset="-128"/>
              </a:rPr>
              <a:t>With Retarder Overheat Caution</a:t>
            </a:r>
            <a:endParaRPr lang="ja-JP" altLang="en-GB" sz="2000" b="1" dirty="0" smtClean="0">
              <a:ea typeface="ＭＳ Ｐゴシック" pitchFamily="34" charset="-128"/>
            </a:endParaRPr>
          </a:p>
        </p:txBody>
      </p:sp>
      <p:sp>
        <p:nvSpPr>
          <p:cNvPr id="14339" name="Rectangle 3"/>
          <p:cNvSpPr>
            <a:spLocks noChangeArrowheads="1"/>
          </p:cNvSpPr>
          <p:nvPr/>
        </p:nvSpPr>
        <p:spPr bwMode="auto">
          <a:xfrm>
            <a:off x="3060700" y="4984750"/>
            <a:ext cx="6083300" cy="1866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2075" tIns="46038" rIns="92075" bIns="46038"/>
          <a:lstStyle/>
          <a:p>
            <a:pPr>
              <a:lnSpc>
                <a:spcPct val="80000"/>
              </a:lnSpc>
            </a:pPr>
            <a:endParaRPr kumimoji="1" lang="ja-JP" altLang="en-GB" sz="2000" b="1">
              <a:latin typeface="Times New Roman" pitchFamily="18" charset="0"/>
              <a:ea typeface="ＭＳ Ｐゴシック" pitchFamily="34" charset="-128"/>
            </a:endParaRPr>
          </a:p>
        </p:txBody>
      </p:sp>
      <p:pic>
        <p:nvPicPr>
          <p:cNvPr id="14340" name="Picture 4" descr="Steering cente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25475" y="3452813"/>
            <a:ext cx="3886200" cy="2803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341" name="AutoShape 5"/>
          <p:cNvSpPr>
            <a:spLocks noChangeArrowheads="1"/>
          </p:cNvSpPr>
          <p:nvPr/>
        </p:nvSpPr>
        <p:spPr bwMode="auto">
          <a:xfrm rot="5393765" flipH="1">
            <a:off x="2837657" y="3923506"/>
            <a:ext cx="544512" cy="542925"/>
          </a:xfrm>
          <a:prstGeom prst="rightArrow">
            <a:avLst>
              <a:gd name="adj1" fmla="val 50000"/>
              <a:gd name="adj2" fmla="val 50179"/>
            </a:avLst>
          </a:prstGeom>
          <a:solidFill>
            <a:srgbClr val="FF9900"/>
          </a:solidFill>
          <a:ln w="12700">
            <a:solidFill>
              <a:schemeClr val="bg2"/>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4342" name="AutoShape 6"/>
          <p:cNvSpPr>
            <a:spLocks noChangeArrowheads="1"/>
          </p:cNvSpPr>
          <p:nvPr/>
        </p:nvSpPr>
        <p:spPr bwMode="auto">
          <a:xfrm rot="17208578" flipH="1">
            <a:off x="2590800" y="4953000"/>
            <a:ext cx="558800" cy="539750"/>
          </a:xfrm>
          <a:prstGeom prst="rightArrow">
            <a:avLst>
              <a:gd name="adj1" fmla="val 50000"/>
              <a:gd name="adj2" fmla="val 51798"/>
            </a:avLst>
          </a:prstGeom>
          <a:solidFill>
            <a:srgbClr val="FF9900"/>
          </a:solidFill>
          <a:ln w="12700">
            <a:solidFill>
              <a:schemeClr val="bg2"/>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4343" name="Rectangle 7"/>
          <p:cNvSpPr>
            <a:spLocks noChangeArrowheads="1"/>
          </p:cNvSpPr>
          <p:nvPr/>
        </p:nvSpPr>
        <p:spPr bwMode="auto">
          <a:xfrm>
            <a:off x="2600325" y="3514725"/>
            <a:ext cx="1219200" cy="373063"/>
          </a:xfrm>
          <a:prstGeom prst="rect">
            <a:avLst/>
          </a:prstGeom>
          <a:solidFill>
            <a:schemeClr val="bg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488" tIns="44450" rIns="90488" bIns="44450" anchor="ctr">
            <a:spAutoFit/>
          </a:bodyPr>
          <a:lstStyle/>
          <a:p>
            <a:pPr algn="ctr" eaLnBrk="0" hangingPunct="0"/>
            <a:r>
              <a:rPr lang="en-GB" altLang="ja-JP" b="1">
                <a:ea typeface="ＭＳ Ｐゴシック" pitchFamily="34" charset="-128"/>
              </a:rPr>
              <a:t>Up speed</a:t>
            </a:r>
            <a:endParaRPr lang="ja-JP" altLang="en-GB" b="1">
              <a:ea typeface="ＭＳ Ｐゴシック" pitchFamily="34" charset="-128"/>
            </a:endParaRPr>
          </a:p>
        </p:txBody>
      </p:sp>
      <p:sp>
        <p:nvSpPr>
          <p:cNvPr id="14344" name="Rectangle 8"/>
          <p:cNvSpPr>
            <a:spLocks noChangeArrowheads="1"/>
          </p:cNvSpPr>
          <p:nvPr/>
        </p:nvSpPr>
        <p:spPr bwMode="auto">
          <a:xfrm>
            <a:off x="1892300" y="5541963"/>
            <a:ext cx="1536700" cy="373062"/>
          </a:xfrm>
          <a:prstGeom prst="rect">
            <a:avLst/>
          </a:prstGeom>
          <a:solidFill>
            <a:schemeClr val="bg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488" tIns="44450" rIns="90488" bIns="44450" anchor="ctr">
            <a:spAutoFit/>
          </a:bodyPr>
          <a:lstStyle/>
          <a:p>
            <a:pPr algn="ctr" eaLnBrk="0" hangingPunct="0"/>
            <a:r>
              <a:rPr lang="en-GB" altLang="ja-JP" b="1">
                <a:ea typeface="ＭＳ Ｐゴシック" pitchFamily="34" charset="-128"/>
              </a:rPr>
              <a:t>Down speed</a:t>
            </a:r>
            <a:endParaRPr lang="ja-JP" altLang="en-GB" b="1">
              <a:ea typeface="ＭＳ Ｐゴシック" pitchFamily="34" charset="-128"/>
            </a:endParaRPr>
          </a:p>
        </p:txBody>
      </p:sp>
      <p:pic>
        <p:nvPicPr>
          <p:cNvPr id="14345" name="Picture 9"/>
          <p:cNvPicPr>
            <a:picLocks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703638" y="4613275"/>
            <a:ext cx="1447800" cy="1397000"/>
          </a:xfrm>
          <a:prstGeom prst="rect">
            <a:avLst/>
          </a:prstGeom>
          <a:noFill/>
          <a:ln w="12700">
            <a:solidFill>
              <a:srgbClr val="5F5F5F"/>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4346" name="AutoShape 10"/>
          <p:cNvSpPr>
            <a:spLocks noChangeArrowheads="1"/>
          </p:cNvSpPr>
          <p:nvPr/>
        </p:nvSpPr>
        <p:spPr bwMode="auto">
          <a:xfrm>
            <a:off x="4860032" y="1728788"/>
            <a:ext cx="381000" cy="609600"/>
          </a:xfrm>
          <a:prstGeom prst="rightArrow">
            <a:avLst>
              <a:gd name="adj1" fmla="val 50000"/>
              <a:gd name="adj2" fmla="val 25000"/>
            </a:avLst>
          </a:prstGeom>
          <a:solidFill>
            <a:schemeClr val="accent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4347" name="Text Box 11"/>
          <p:cNvSpPr txBox="1">
            <a:spLocks noChangeArrowheads="1"/>
          </p:cNvSpPr>
          <p:nvPr/>
        </p:nvSpPr>
        <p:spPr bwMode="auto">
          <a:xfrm>
            <a:off x="5348734" y="1404938"/>
            <a:ext cx="3658220" cy="138499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marL="342900" indent="-342900" eaLnBrk="1" hangingPunct="1">
              <a:lnSpc>
                <a:spcPct val="80000"/>
              </a:lnSpc>
              <a:spcBef>
                <a:spcPct val="50000"/>
              </a:spcBef>
              <a:buFont typeface="Arial" pitchFamily="34" charset="0"/>
              <a:buChar char="•"/>
            </a:pPr>
            <a:r>
              <a:rPr kumimoji="1" lang="en-US" altLang="ja-JP" sz="2000" b="1" dirty="0" smtClean="0">
                <a:ea typeface="ＭＳ Ｐゴシック" pitchFamily="34" charset="-128"/>
              </a:rPr>
              <a:t>Concentrates </a:t>
            </a:r>
            <a:r>
              <a:rPr kumimoji="1" lang="en-US" altLang="ja-JP" sz="2000" b="1" dirty="0">
                <a:ea typeface="ＭＳ Ｐゴシック" pitchFamily="34" charset="-128"/>
              </a:rPr>
              <a:t>on steering control</a:t>
            </a:r>
          </a:p>
          <a:p>
            <a:pPr marL="342900" indent="-342900" eaLnBrk="1" hangingPunct="1">
              <a:lnSpc>
                <a:spcPct val="80000"/>
              </a:lnSpc>
              <a:spcBef>
                <a:spcPct val="50000"/>
              </a:spcBef>
              <a:buFont typeface="Arial" pitchFamily="34" charset="0"/>
              <a:buChar char="•"/>
            </a:pPr>
            <a:r>
              <a:rPr kumimoji="1" lang="en-US" altLang="ja-JP" sz="2000" b="1" dirty="0" smtClean="0">
                <a:ea typeface="ＭＳ Ｐゴシック" pitchFamily="34" charset="-128"/>
              </a:rPr>
              <a:t>Improves </a:t>
            </a:r>
            <a:r>
              <a:rPr kumimoji="1" lang="en-US" altLang="ja-JP" sz="2000" b="1" dirty="0">
                <a:ea typeface="ＭＳ Ｐゴシック" pitchFamily="34" charset="-128"/>
              </a:rPr>
              <a:t>Efficiency </a:t>
            </a:r>
          </a:p>
          <a:p>
            <a:pPr marL="342900" indent="-342900" eaLnBrk="1" hangingPunct="1">
              <a:lnSpc>
                <a:spcPct val="80000"/>
              </a:lnSpc>
              <a:spcBef>
                <a:spcPct val="50000"/>
              </a:spcBef>
              <a:buFont typeface="Arial" pitchFamily="34" charset="0"/>
              <a:buChar char="•"/>
            </a:pPr>
            <a:r>
              <a:rPr kumimoji="1" lang="en-US" altLang="ja-JP" sz="2000" b="1" dirty="0" smtClean="0">
                <a:ea typeface="ＭＳ Ｐゴシック" pitchFamily="34" charset="-128"/>
              </a:rPr>
              <a:t>Reduces </a:t>
            </a:r>
            <a:r>
              <a:rPr kumimoji="1" lang="en-US" altLang="ja-JP" sz="2000" b="1" dirty="0">
                <a:ea typeface="ＭＳ Ｐゴシック" pitchFamily="34" charset="-128"/>
              </a:rPr>
              <a:t>operator fatigue</a:t>
            </a:r>
          </a:p>
        </p:txBody>
      </p:sp>
      <p:graphicFrame>
        <p:nvGraphicFramePr>
          <p:cNvPr id="14348" name="Object 12"/>
          <p:cNvGraphicFramePr>
            <a:graphicFrameLocks noChangeAspect="1"/>
          </p:cNvGraphicFramePr>
          <p:nvPr/>
        </p:nvGraphicFramePr>
        <p:xfrm>
          <a:off x="5208588" y="3784600"/>
          <a:ext cx="3935412" cy="1760538"/>
        </p:xfrm>
        <a:graphic>
          <a:graphicData uri="http://schemas.openxmlformats.org/presentationml/2006/ole">
            <mc:AlternateContent xmlns:mc="http://schemas.openxmlformats.org/markup-compatibility/2006">
              <mc:Choice xmlns:v="urn:schemas-microsoft-com:vml" Requires="v">
                <p:oleObj spid="_x0000_s5137" name="Photo Editor Photo" r:id="rId6" imgW="8419048" imgH="3476190" progId="MSPhotoEd.3">
                  <p:embed/>
                </p:oleObj>
              </mc:Choice>
              <mc:Fallback>
                <p:oleObj name="Photo Editor Photo" r:id="rId6" imgW="8419048" imgH="3476190" progId="MSPhotoEd.3">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208588" y="3784600"/>
                        <a:ext cx="3935412" cy="17605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sp>
        <p:nvSpPr>
          <p:cNvPr id="14349" name="Line 13"/>
          <p:cNvSpPr>
            <a:spLocks noChangeShapeType="1"/>
          </p:cNvSpPr>
          <p:nvPr/>
        </p:nvSpPr>
        <p:spPr bwMode="auto">
          <a:xfrm flipH="1" flipV="1">
            <a:off x="3417888" y="4816475"/>
            <a:ext cx="457200" cy="990600"/>
          </a:xfrm>
          <a:prstGeom prst="line">
            <a:avLst/>
          </a:prstGeom>
          <a:noFill/>
          <a:ln w="25400">
            <a:solidFill>
              <a:srgbClr val="FF9900"/>
            </a:solidFill>
            <a:round/>
            <a:headEnd/>
            <a:tailEnd type="triangle" w="sm" len="lg"/>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14350" name="Oval 14"/>
          <p:cNvSpPr>
            <a:spLocks noChangeArrowheads="1"/>
          </p:cNvSpPr>
          <p:nvPr/>
        </p:nvSpPr>
        <p:spPr bwMode="auto">
          <a:xfrm>
            <a:off x="7731125" y="4462463"/>
            <a:ext cx="685800" cy="685800"/>
          </a:xfrm>
          <a:prstGeom prst="ellipse">
            <a:avLst/>
          </a:prstGeom>
          <a:noFill/>
          <a:ln w="22225">
            <a:solidFill>
              <a:srgbClr val="FF9900"/>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4351" name="Text Box 15"/>
          <p:cNvSpPr txBox="1">
            <a:spLocks noChangeArrowheads="1"/>
          </p:cNvSpPr>
          <p:nvPr/>
        </p:nvSpPr>
        <p:spPr bwMode="auto">
          <a:xfrm>
            <a:off x="6516216" y="3268663"/>
            <a:ext cx="2441887" cy="400110"/>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spcBef>
                <a:spcPct val="50000"/>
              </a:spcBef>
            </a:pPr>
            <a:r>
              <a:rPr kumimoji="1" lang="en-US" altLang="ja-JP" sz="2000" b="1">
                <a:latin typeface="Times New Roman" pitchFamily="18" charset="0"/>
                <a:ea typeface="ＭＳ Ｐゴシック" pitchFamily="34" charset="-128"/>
              </a:rPr>
              <a:t>Pre-set vehicle speed</a:t>
            </a:r>
          </a:p>
        </p:txBody>
      </p:sp>
      <p:sp>
        <p:nvSpPr>
          <p:cNvPr id="14352" name="Line 16"/>
          <p:cNvSpPr>
            <a:spLocks noChangeShapeType="1"/>
          </p:cNvSpPr>
          <p:nvPr/>
        </p:nvSpPr>
        <p:spPr bwMode="auto">
          <a:xfrm flipH="1">
            <a:off x="8050213" y="3651250"/>
            <a:ext cx="76200" cy="838200"/>
          </a:xfrm>
          <a:prstGeom prst="line">
            <a:avLst/>
          </a:prstGeom>
          <a:noFill/>
          <a:ln w="25400">
            <a:solidFill>
              <a:srgbClr val="FF9900"/>
            </a:solidFill>
            <a:round/>
            <a:headEnd/>
            <a:tailEnd type="triangle" w="sm" len="lg"/>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14353" name="Text Box 17"/>
          <p:cNvSpPr txBox="1">
            <a:spLocks noChangeArrowheads="1"/>
          </p:cNvSpPr>
          <p:nvPr/>
        </p:nvSpPr>
        <p:spPr bwMode="auto">
          <a:xfrm>
            <a:off x="5348734" y="627410"/>
            <a:ext cx="3687762" cy="6413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spcBef>
                <a:spcPct val="50000"/>
              </a:spcBef>
            </a:pPr>
            <a:r>
              <a:rPr kumimoji="1" lang="en-US" altLang="ja-JP" dirty="0">
                <a:solidFill>
                  <a:schemeClr val="accent2"/>
                </a:solidFill>
                <a:ea typeface="ＭＳ Ｐゴシック" pitchFamily="34" charset="-128"/>
              </a:rPr>
              <a:t>Operation </a:t>
            </a:r>
            <a:r>
              <a:rPr kumimoji="1" lang="en-US" altLang="ja-JP" dirty="0" smtClean="0">
                <a:solidFill>
                  <a:schemeClr val="accent2"/>
                </a:solidFill>
                <a:ea typeface="ＭＳ Ｐゴシック" pitchFamily="34" charset="-128"/>
              </a:rPr>
              <a:t>feels like </a:t>
            </a:r>
            <a:r>
              <a:rPr kumimoji="1" lang="en-US" altLang="ja-JP" dirty="0">
                <a:solidFill>
                  <a:schemeClr val="accent2"/>
                </a:solidFill>
                <a:ea typeface="ＭＳ Ｐゴシック" pitchFamily="34" charset="-128"/>
              </a:rPr>
              <a:t>auto-cruise control on </a:t>
            </a:r>
            <a:r>
              <a:rPr kumimoji="1" lang="en-US" altLang="ja-JP" dirty="0" smtClean="0">
                <a:solidFill>
                  <a:schemeClr val="accent2"/>
                </a:solidFill>
                <a:ea typeface="ＭＳ Ｐゴシック" pitchFamily="34" charset="-128"/>
              </a:rPr>
              <a:t>automobiles</a:t>
            </a:r>
            <a:endParaRPr kumimoji="1" lang="en-US" altLang="ja-JP" dirty="0">
              <a:solidFill>
                <a:schemeClr val="accent2"/>
              </a:solidFill>
              <a:ea typeface="ＭＳ Ｐゴシック" pitchFamily="34" charset="-128"/>
            </a:endParaRPr>
          </a:p>
        </p:txBody>
      </p:sp>
      <p:grpSp>
        <p:nvGrpSpPr>
          <p:cNvPr id="14354" name="Group 18"/>
          <p:cNvGrpSpPr>
            <a:grpSpLocks/>
          </p:cNvGrpSpPr>
          <p:nvPr/>
        </p:nvGrpSpPr>
        <p:grpSpPr bwMode="auto">
          <a:xfrm>
            <a:off x="0" y="0"/>
            <a:ext cx="9144000" cy="520700"/>
            <a:chOff x="0" y="0"/>
            <a:chExt cx="6240" cy="328"/>
          </a:xfrm>
        </p:grpSpPr>
        <p:sp>
          <p:nvSpPr>
            <p:cNvPr id="14355" name="Rectangle 19"/>
            <p:cNvSpPr>
              <a:spLocks noChangeArrowheads="1"/>
            </p:cNvSpPr>
            <p:nvPr/>
          </p:nvSpPr>
          <p:spPr bwMode="auto">
            <a:xfrm>
              <a:off x="0" y="0"/>
              <a:ext cx="6240" cy="328"/>
            </a:xfrm>
            <a:prstGeom prst="rect">
              <a:avLst/>
            </a:prstGeom>
            <a:gradFill rotWithShape="0">
              <a:gsLst>
                <a:gs pos="0">
                  <a:srgbClr val="202061"/>
                </a:gs>
                <a:gs pos="50000">
                  <a:srgbClr val="333399"/>
                </a:gs>
                <a:gs pos="100000">
                  <a:srgbClr val="202061"/>
                </a:gs>
              </a:gsLst>
              <a:lin ang="5400000" scaled="1"/>
            </a:gradFill>
            <a:ln>
              <a:noFill/>
            </a:ln>
            <a:effectLst/>
            <a:extLs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0488" tIns="108000" rIns="90488" bIns="108000" anchor="ctr">
              <a:spAutoFit/>
            </a:bodyPr>
            <a:lstStyle/>
            <a:p>
              <a:pPr defTabSz="762000"/>
              <a:r>
                <a:rPr kumimoji="1" lang="ja-JP" altLang="en-US" sz="2000">
                  <a:solidFill>
                    <a:schemeClr val="bg1"/>
                  </a:solidFill>
                  <a:latin typeface="HGP創英角ｺﾞｼｯｸUB" pitchFamily="50" charset="-128"/>
                  <a:ea typeface="HGP創英角ｺﾞｼｯｸUB" pitchFamily="50" charset="-128"/>
                </a:rPr>
                <a:t>　　</a:t>
              </a:r>
              <a:r>
                <a:rPr kumimoji="1" lang="en-US" altLang="ja-JP" sz="2000">
                  <a:solidFill>
                    <a:schemeClr val="bg1"/>
                  </a:solidFill>
                  <a:latin typeface="Arial Black" pitchFamily="34" charset="0"/>
                  <a:ea typeface="HGP創英角ｺﾞｼｯｸUB" pitchFamily="50" charset="-128"/>
                </a:rPr>
                <a:t>ARSC (Automatic Retarder Speed Control)</a:t>
              </a:r>
            </a:p>
          </p:txBody>
        </p:sp>
        <p:sp>
          <p:nvSpPr>
            <p:cNvPr id="14356" name="Text Box 20"/>
            <p:cNvSpPr txBox="1">
              <a:spLocks noChangeArrowheads="1"/>
            </p:cNvSpPr>
            <p:nvPr/>
          </p:nvSpPr>
          <p:spPr bwMode="auto">
            <a:xfrm>
              <a:off x="5152" y="89"/>
              <a:ext cx="1088" cy="23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eaLnBrk="1" hangingPunct="1">
                <a:spcBef>
                  <a:spcPct val="50000"/>
                </a:spcBef>
              </a:pPr>
              <a:r>
                <a:rPr kumimoji="1" lang="en-US" altLang="ja-JP" b="1" i="1">
                  <a:solidFill>
                    <a:srgbClr val="FFFF00"/>
                  </a:solidFill>
                  <a:latin typeface="Arial Black" pitchFamily="34" charset="0"/>
                  <a:ea typeface="ＭＳ Ｐゴシック" pitchFamily="34" charset="-128"/>
                </a:rPr>
                <a:t>HD785-7</a:t>
              </a:r>
            </a:p>
          </p:txBody>
        </p:sp>
      </p:grpSp>
    </p:spTree>
    <p:extLst>
      <p:ext uri="{BB962C8B-B14F-4D97-AF65-F5344CB8AC3E}">
        <p14:creationId xmlns:p14="http://schemas.microsoft.com/office/powerpoint/2010/main" val="1341978276"/>
      </p:ext>
    </p:extLst>
  </p:cSld>
  <p:clrMapOvr>
    <a:masterClrMapping/>
  </p:clrMapOvr>
  <p:transition/>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4" name="Text Box 2"/>
          <p:cNvSpPr txBox="1">
            <a:spLocks noChangeArrowheads="1"/>
          </p:cNvSpPr>
          <p:nvPr/>
        </p:nvSpPr>
        <p:spPr bwMode="auto">
          <a:xfrm>
            <a:off x="107449" y="116632"/>
            <a:ext cx="4752583" cy="4616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defTabSz="762000" eaLnBrk="0" hangingPunct="0">
              <a:tabLst>
                <a:tab pos="571500" algn="l"/>
                <a:tab pos="863600" algn="l"/>
                <a:tab pos="2476500" algn="l"/>
                <a:tab pos="2768600" algn="l"/>
                <a:tab pos="4292600" algn="l"/>
                <a:tab pos="4673600" algn="l"/>
                <a:tab pos="5715000" algn="l"/>
              </a:tabLst>
              <a:defRPr>
                <a:solidFill>
                  <a:schemeClr val="tx1"/>
                </a:solidFill>
                <a:latin typeface="Arial" charset="0"/>
              </a:defRPr>
            </a:lvl1pPr>
            <a:lvl2pPr marL="742950" indent="-285750" defTabSz="762000" eaLnBrk="0" hangingPunct="0">
              <a:tabLst>
                <a:tab pos="571500" algn="l"/>
                <a:tab pos="863600" algn="l"/>
                <a:tab pos="2476500" algn="l"/>
                <a:tab pos="2768600" algn="l"/>
                <a:tab pos="4292600" algn="l"/>
                <a:tab pos="4673600" algn="l"/>
                <a:tab pos="5715000" algn="l"/>
              </a:tabLst>
              <a:defRPr>
                <a:solidFill>
                  <a:schemeClr val="tx1"/>
                </a:solidFill>
                <a:latin typeface="Arial" charset="0"/>
              </a:defRPr>
            </a:lvl2pPr>
            <a:lvl3pPr marL="1143000" indent="-228600" defTabSz="762000" eaLnBrk="0" hangingPunct="0">
              <a:tabLst>
                <a:tab pos="571500" algn="l"/>
                <a:tab pos="863600" algn="l"/>
                <a:tab pos="2476500" algn="l"/>
                <a:tab pos="2768600" algn="l"/>
                <a:tab pos="4292600" algn="l"/>
                <a:tab pos="4673600" algn="l"/>
                <a:tab pos="5715000" algn="l"/>
              </a:tabLst>
              <a:defRPr>
                <a:solidFill>
                  <a:schemeClr val="tx1"/>
                </a:solidFill>
                <a:latin typeface="Arial" charset="0"/>
              </a:defRPr>
            </a:lvl3pPr>
            <a:lvl4pPr marL="1600200" indent="-228600" defTabSz="762000" eaLnBrk="0" hangingPunct="0">
              <a:tabLst>
                <a:tab pos="571500" algn="l"/>
                <a:tab pos="863600" algn="l"/>
                <a:tab pos="2476500" algn="l"/>
                <a:tab pos="2768600" algn="l"/>
                <a:tab pos="4292600" algn="l"/>
                <a:tab pos="4673600" algn="l"/>
                <a:tab pos="5715000" algn="l"/>
              </a:tabLst>
              <a:defRPr>
                <a:solidFill>
                  <a:schemeClr val="tx1"/>
                </a:solidFill>
                <a:latin typeface="Arial" charset="0"/>
              </a:defRPr>
            </a:lvl4pPr>
            <a:lvl5pPr marL="2057400" indent="-228600" defTabSz="762000" eaLnBrk="0" hangingPunct="0">
              <a:tabLst>
                <a:tab pos="571500" algn="l"/>
                <a:tab pos="863600" algn="l"/>
                <a:tab pos="2476500" algn="l"/>
                <a:tab pos="2768600" algn="l"/>
                <a:tab pos="4292600" algn="l"/>
                <a:tab pos="4673600" algn="l"/>
                <a:tab pos="5715000" algn="l"/>
              </a:tabLst>
              <a:defRPr>
                <a:solidFill>
                  <a:schemeClr val="tx1"/>
                </a:solidFill>
                <a:latin typeface="Arial" charset="0"/>
              </a:defRPr>
            </a:lvl5pPr>
            <a:lvl6pPr marL="2514600" indent="-228600" defTabSz="762000" eaLnBrk="0" fontAlgn="base" hangingPunct="0">
              <a:spcBef>
                <a:spcPct val="0"/>
              </a:spcBef>
              <a:spcAft>
                <a:spcPct val="0"/>
              </a:spcAft>
              <a:tabLst>
                <a:tab pos="571500" algn="l"/>
                <a:tab pos="863600" algn="l"/>
                <a:tab pos="2476500" algn="l"/>
                <a:tab pos="2768600" algn="l"/>
                <a:tab pos="4292600" algn="l"/>
                <a:tab pos="4673600" algn="l"/>
                <a:tab pos="5715000" algn="l"/>
              </a:tabLst>
              <a:defRPr>
                <a:solidFill>
                  <a:schemeClr val="tx1"/>
                </a:solidFill>
                <a:latin typeface="Arial" charset="0"/>
              </a:defRPr>
            </a:lvl6pPr>
            <a:lvl7pPr marL="2971800" indent="-228600" defTabSz="762000" eaLnBrk="0" fontAlgn="base" hangingPunct="0">
              <a:spcBef>
                <a:spcPct val="0"/>
              </a:spcBef>
              <a:spcAft>
                <a:spcPct val="0"/>
              </a:spcAft>
              <a:tabLst>
                <a:tab pos="571500" algn="l"/>
                <a:tab pos="863600" algn="l"/>
                <a:tab pos="2476500" algn="l"/>
                <a:tab pos="2768600" algn="l"/>
                <a:tab pos="4292600" algn="l"/>
                <a:tab pos="4673600" algn="l"/>
                <a:tab pos="5715000" algn="l"/>
              </a:tabLst>
              <a:defRPr>
                <a:solidFill>
                  <a:schemeClr val="tx1"/>
                </a:solidFill>
                <a:latin typeface="Arial" charset="0"/>
              </a:defRPr>
            </a:lvl7pPr>
            <a:lvl8pPr marL="3429000" indent="-228600" defTabSz="762000" eaLnBrk="0" fontAlgn="base" hangingPunct="0">
              <a:spcBef>
                <a:spcPct val="0"/>
              </a:spcBef>
              <a:spcAft>
                <a:spcPct val="0"/>
              </a:spcAft>
              <a:tabLst>
                <a:tab pos="571500" algn="l"/>
                <a:tab pos="863600" algn="l"/>
                <a:tab pos="2476500" algn="l"/>
                <a:tab pos="2768600" algn="l"/>
                <a:tab pos="4292600" algn="l"/>
                <a:tab pos="4673600" algn="l"/>
                <a:tab pos="5715000" algn="l"/>
              </a:tabLst>
              <a:defRPr>
                <a:solidFill>
                  <a:schemeClr val="tx1"/>
                </a:solidFill>
                <a:latin typeface="Arial" charset="0"/>
              </a:defRPr>
            </a:lvl8pPr>
            <a:lvl9pPr marL="3886200" indent="-228600" defTabSz="762000" eaLnBrk="0" fontAlgn="base" hangingPunct="0">
              <a:spcBef>
                <a:spcPct val="0"/>
              </a:spcBef>
              <a:spcAft>
                <a:spcPct val="0"/>
              </a:spcAft>
              <a:tabLst>
                <a:tab pos="571500" algn="l"/>
                <a:tab pos="863600" algn="l"/>
                <a:tab pos="2476500" algn="l"/>
                <a:tab pos="2768600" algn="l"/>
                <a:tab pos="4292600" algn="l"/>
                <a:tab pos="4673600" algn="l"/>
                <a:tab pos="5715000" algn="l"/>
              </a:tabLst>
              <a:defRPr>
                <a:solidFill>
                  <a:schemeClr val="tx1"/>
                </a:solidFill>
                <a:latin typeface="Arial" charset="0"/>
              </a:defRPr>
            </a:lvl9pPr>
          </a:lstStyle>
          <a:p>
            <a:pPr algn="ctr">
              <a:lnSpc>
                <a:spcPct val="120000"/>
              </a:lnSpc>
            </a:pPr>
            <a:r>
              <a:rPr lang="en-GB" sz="2000" b="1" dirty="0" smtClean="0">
                <a:solidFill>
                  <a:schemeClr val="bg1"/>
                </a:solidFill>
              </a:rPr>
              <a:t>Operator Cabin </a:t>
            </a:r>
            <a:r>
              <a:rPr lang="en-GB" sz="2000" b="1" dirty="0">
                <a:solidFill>
                  <a:schemeClr val="bg1"/>
                </a:solidFill>
              </a:rPr>
              <a:t>With Integrated FOPS</a:t>
            </a:r>
          </a:p>
        </p:txBody>
      </p:sp>
      <p:pic>
        <p:nvPicPr>
          <p:cNvPr id="18435"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787900" y="3168650"/>
            <a:ext cx="2108200" cy="30511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8436" name="Rectangle 4"/>
          <p:cNvSpPr>
            <a:spLocks noChangeArrowheads="1"/>
          </p:cNvSpPr>
          <p:nvPr/>
        </p:nvSpPr>
        <p:spPr bwMode="auto">
          <a:xfrm>
            <a:off x="4673600" y="1085850"/>
            <a:ext cx="3642815" cy="9715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762000" eaLnBrk="0" hangingPunct="0"/>
            <a:r>
              <a:rPr lang="en-GB" sz="1600" b="1" u="sng" dirty="0"/>
              <a:t>FOPS according to ISO 3449</a:t>
            </a:r>
            <a:endParaRPr lang="en-GB" sz="1600" b="1" dirty="0"/>
          </a:p>
          <a:p>
            <a:pPr defTabSz="762000" eaLnBrk="0" hangingPunct="0">
              <a:spcBef>
                <a:spcPct val="30000"/>
              </a:spcBef>
            </a:pPr>
            <a:r>
              <a:rPr lang="en-GB" sz="1600" b="1" dirty="0"/>
              <a:t>Falling Objects Protective Structure</a:t>
            </a:r>
          </a:p>
          <a:p>
            <a:pPr defTabSz="762000" eaLnBrk="0" hangingPunct="0"/>
            <a:r>
              <a:rPr lang="en-GB" sz="1600" b="1" dirty="0"/>
              <a:t>protects operator from injury</a:t>
            </a:r>
          </a:p>
          <a:p>
            <a:pPr defTabSz="762000" eaLnBrk="0" hangingPunct="0"/>
            <a:endParaRPr lang="en-GB" sz="1600" b="1" dirty="0"/>
          </a:p>
        </p:txBody>
      </p:sp>
      <p:sp>
        <p:nvSpPr>
          <p:cNvPr id="18437" name="Rectangle 5"/>
          <p:cNvSpPr>
            <a:spLocks noChangeArrowheads="1"/>
          </p:cNvSpPr>
          <p:nvPr/>
        </p:nvSpPr>
        <p:spPr bwMode="auto">
          <a:xfrm>
            <a:off x="4673600" y="2033588"/>
            <a:ext cx="3642815" cy="9159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000" tIns="46800" rIns="90000" bIns="46800" anchor="ctr"/>
          <a:lstStyle/>
          <a:p>
            <a:pPr defTabSz="762000" eaLnBrk="0" hangingPunct="0">
              <a:lnSpc>
                <a:spcPct val="90000"/>
              </a:lnSpc>
            </a:pPr>
            <a:r>
              <a:rPr lang="en-GB" sz="1600" b="1" dirty="0"/>
              <a:t>Test Procedure:  227 kg ( 500 </a:t>
            </a:r>
            <a:r>
              <a:rPr lang="en-GB" sz="1600" b="1" dirty="0" err="1"/>
              <a:t>lb</a:t>
            </a:r>
            <a:r>
              <a:rPr lang="en-GB" sz="1600" b="1" dirty="0"/>
              <a:t> ) </a:t>
            </a:r>
          </a:p>
          <a:p>
            <a:pPr defTabSz="762000" eaLnBrk="0" hangingPunct="0"/>
            <a:r>
              <a:rPr lang="en-GB" sz="1600" b="1" dirty="0"/>
              <a:t>falling from  5,3 m ( 17‘4“ ) onto</a:t>
            </a:r>
          </a:p>
          <a:p>
            <a:pPr defTabSz="762000" eaLnBrk="0" hangingPunct="0"/>
            <a:r>
              <a:rPr lang="en-GB" sz="1600" b="1" dirty="0"/>
              <a:t>FOPS structure</a:t>
            </a:r>
          </a:p>
        </p:txBody>
      </p:sp>
      <p:sp>
        <p:nvSpPr>
          <p:cNvPr id="18438" name="Text Box 6"/>
          <p:cNvSpPr txBox="1">
            <a:spLocks noChangeArrowheads="1"/>
          </p:cNvSpPr>
          <p:nvPr/>
        </p:nvSpPr>
        <p:spPr bwMode="auto">
          <a:xfrm>
            <a:off x="6876256" y="3717032"/>
            <a:ext cx="2009775" cy="20621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defTabSz="762000" eaLnBrk="0" hangingPunct="0">
              <a:defRPr>
                <a:solidFill>
                  <a:schemeClr val="tx1"/>
                </a:solidFill>
                <a:latin typeface="Arial" charset="0"/>
              </a:defRPr>
            </a:lvl1pPr>
            <a:lvl2pPr marL="742950" indent="-285750" defTabSz="762000" eaLnBrk="0" hangingPunct="0">
              <a:defRPr>
                <a:solidFill>
                  <a:schemeClr val="tx1"/>
                </a:solidFill>
                <a:latin typeface="Arial" charset="0"/>
              </a:defRPr>
            </a:lvl2pPr>
            <a:lvl3pPr marL="1143000" indent="-228600" defTabSz="762000" eaLnBrk="0" hangingPunct="0">
              <a:defRPr>
                <a:solidFill>
                  <a:schemeClr val="tx1"/>
                </a:solidFill>
                <a:latin typeface="Arial" charset="0"/>
              </a:defRPr>
            </a:lvl3pPr>
            <a:lvl4pPr marL="1600200" indent="-228600" defTabSz="762000" eaLnBrk="0" hangingPunct="0">
              <a:defRPr>
                <a:solidFill>
                  <a:schemeClr val="tx1"/>
                </a:solidFill>
                <a:latin typeface="Arial" charset="0"/>
              </a:defRPr>
            </a:lvl4pPr>
            <a:lvl5pPr marL="2057400" indent="-228600" defTabSz="762000" eaLnBrk="0" hangingPunct="0">
              <a:defRPr>
                <a:solidFill>
                  <a:schemeClr val="tx1"/>
                </a:solidFill>
                <a:latin typeface="Arial" charset="0"/>
              </a:defRPr>
            </a:lvl5pPr>
            <a:lvl6pPr marL="2514600" indent="-228600" defTabSz="762000" eaLnBrk="0" fontAlgn="base" hangingPunct="0">
              <a:spcBef>
                <a:spcPct val="0"/>
              </a:spcBef>
              <a:spcAft>
                <a:spcPct val="0"/>
              </a:spcAft>
              <a:defRPr>
                <a:solidFill>
                  <a:schemeClr val="tx1"/>
                </a:solidFill>
                <a:latin typeface="Arial" charset="0"/>
              </a:defRPr>
            </a:lvl6pPr>
            <a:lvl7pPr marL="2971800" indent="-228600" defTabSz="762000" eaLnBrk="0" fontAlgn="base" hangingPunct="0">
              <a:spcBef>
                <a:spcPct val="0"/>
              </a:spcBef>
              <a:spcAft>
                <a:spcPct val="0"/>
              </a:spcAft>
              <a:defRPr>
                <a:solidFill>
                  <a:schemeClr val="tx1"/>
                </a:solidFill>
                <a:latin typeface="Arial" charset="0"/>
              </a:defRPr>
            </a:lvl7pPr>
            <a:lvl8pPr marL="3429000" indent="-228600" defTabSz="762000" eaLnBrk="0" fontAlgn="base" hangingPunct="0">
              <a:spcBef>
                <a:spcPct val="0"/>
              </a:spcBef>
              <a:spcAft>
                <a:spcPct val="0"/>
              </a:spcAft>
              <a:defRPr>
                <a:solidFill>
                  <a:schemeClr val="tx1"/>
                </a:solidFill>
                <a:latin typeface="Arial" charset="0"/>
              </a:defRPr>
            </a:lvl8pPr>
            <a:lvl9pPr marL="3886200" indent="-228600" defTabSz="762000" eaLnBrk="0" fontAlgn="base" hangingPunct="0">
              <a:spcBef>
                <a:spcPct val="0"/>
              </a:spcBef>
              <a:spcAft>
                <a:spcPct val="0"/>
              </a:spcAft>
              <a:defRPr>
                <a:solidFill>
                  <a:schemeClr val="tx1"/>
                </a:solidFill>
                <a:latin typeface="Arial" charset="0"/>
              </a:defRPr>
            </a:lvl9pPr>
          </a:lstStyle>
          <a:p>
            <a:pPr algn="just"/>
            <a:r>
              <a:rPr lang="en-GB" sz="1600" b="1" dirty="0"/>
              <a:t>A mass with</a:t>
            </a:r>
            <a:r>
              <a:rPr lang="en-GB" sz="1600" dirty="0">
                <a:latin typeface="Times New Roman" pitchFamily="18" charset="0"/>
              </a:rPr>
              <a:t> </a:t>
            </a:r>
            <a:r>
              <a:rPr lang="en-GB" sz="1600" b="1" dirty="0"/>
              <a:t>the energy of 11600 Joule falling onto the cab roof, should not cause penetration of any part of the FOPS structure</a:t>
            </a:r>
          </a:p>
        </p:txBody>
      </p:sp>
      <p:pic>
        <p:nvPicPr>
          <p:cNvPr id="18439" name="Picture 7"/>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679575" y="3981450"/>
            <a:ext cx="2305050" cy="1676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8440" name="Rectangle 8"/>
          <p:cNvSpPr>
            <a:spLocks noChangeArrowheads="1"/>
          </p:cNvSpPr>
          <p:nvPr/>
        </p:nvSpPr>
        <p:spPr bwMode="auto">
          <a:xfrm>
            <a:off x="1659012" y="5619750"/>
            <a:ext cx="2120900" cy="774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000" tIns="46800" rIns="90000" bIns="46800" anchor="ctr"/>
          <a:lstStyle/>
          <a:p>
            <a:pPr defTabSz="762000" eaLnBrk="0" hangingPunct="0"/>
            <a:r>
              <a:rPr lang="en-GB" sz="1600" b="1" dirty="0"/>
              <a:t>Test result: </a:t>
            </a:r>
          </a:p>
          <a:p>
            <a:pPr defTabSz="762000" eaLnBrk="0" hangingPunct="0"/>
            <a:r>
              <a:rPr lang="en-GB" sz="1600" b="1" dirty="0"/>
              <a:t>positively no penetration</a:t>
            </a:r>
          </a:p>
        </p:txBody>
      </p:sp>
      <p:pic>
        <p:nvPicPr>
          <p:cNvPr id="18441" name="Picture 10" descr="PC4000_2a"/>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07504" y="738435"/>
            <a:ext cx="4022725" cy="3122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092121466"/>
      </p:ext>
    </p:extLst>
  </p:cSld>
  <p:clrMapOvr>
    <a:masterClrMapping/>
  </p:clrMapOvr>
  <p:transition>
    <p:wipe dir="r"/>
  </p:transition>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Text Box 2"/>
          <p:cNvSpPr txBox="1">
            <a:spLocks noChangeArrowheads="1"/>
          </p:cNvSpPr>
          <p:nvPr/>
        </p:nvSpPr>
        <p:spPr bwMode="auto">
          <a:xfrm>
            <a:off x="3368675" y="884278"/>
            <a:ext cx="5105400" cy="2033506"/>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90000" tIns="46800" rIns="90000" bIns="46800" anchor="ctr">
            <a:spAutoFit/>
          </a:bodyPr>
          <a:lstStyle>
            <a:lvl1pPr defTabSz="762000" eaLnBrk="0" hangingPunct="0">
              <a:tabLst>
                <a:tab pos="180975" algn="l"/>
              </a:tabLst>
              <a:defRPr>
                <a:solidFill>
                  <a:schemeClr val="tx1"/>
                </a:solidFill>
                <a:latin typeface="Arial" charset="0"/>
              </a:defRPr>
            </a:lvl1pPr>
            <a:lvl2pPr marL="742950" indent="-285750" defTabSz="762000" eaLnBrk="0" hangingPunct="0">
              <a:tabLst>
                <a:tab pos="180975" algn="l"/>
              </a:tabLst>
              <a:defRPr>
                <a:solidFill>
                  <a:schemeClr val="tx1"/>
                </a:solidFill>
                <a:latin typeface="Arial" charset="0"/>
              </a:defRPr>
            </a:lvl2pPr>
            <a:lvl3pPr marL="1143000" indent="-228600" defTabSz="762000" eaLnBrk="0" hangingPunct="0">
              <a:tabLst>
                <a:tab pos="180975" algn="l"/>
              </a:tabLst>
              <a:defRPr>
                <a:solidFill>
                  <a:schemeClr val="tx1"/>
                </a:solidFill>
                <a:latin typeface="Arial" charset="0"/>
              </a:defRPr>
            </a:lvl3pPr>
            <a:lvl4pPr marL="1600200" indent="-228600" defTabSz="762000" eaLnBrk="0" hangingPunct="0">
              <a:tabLst>
                <a:tab pos="180975" algn="l"/>
              </a:tabLst>
              <a:defRPr>
                <a:solidFill>
                  <a:schemeClr val="tx1"/>
                </a:solidFill>
                <a:latin typeface="Arial" charset="0"/>
              </a:defRPr>
            </a:lvl4pPr>
            <a:lvl5pPr marL="2057400" indent="-228600" defTabSz="762000" eaLnBrk="0" hangingPunct="0">
              <a:tabLst>
                <a:tab pos="180975" algn="l"/>
              </a:tabLst>
              <a:defRPr>
                <a:solidFill>
                  <a:schemeClr val="tx1"/>
                </a:solidFill>
                <a:latin typeface="Arial" charset="0"/>
              </a:defRPr>
            </a:lvl5pPr>
            <a:lvl6pPr marL="2514600" indent="-228600" defTabSz="762000" eaLnBrk="0" fontAlgn="base" hangingPunct="0">
              <a:spcBef>
                <a:spcPct val="0"/>
              </a:spcBef>
              <a:spcAft>
                <a:spcPct val="0"/>
              </a:spcAft>
              <a:tabLst>
                <a:tab pos="180975" algn="l"/>
              </a:tabLst>
              <a:defRPr>
                <a:solidFill>
                  <a:schemeClr val="tx1"/>
                </a:solidFill>
                <a:latin typeface="Arial" charset="0"/>
              </a:defRPr>
            </a:lvl6pPr>
            <a:lvl7pPr marL="2971800" indent="-228600" defTabSz="762000" eaLnBrk="0" fontAlgn="base" hangingPunct="0">
              <a:spcBef>
                <a:spcPct val="0"/>
              </a:spcBef>
              <a:spcAft>
                <a:spcPct val="0"/>
              </a:spcAft>
              <a:tabLst>
                <a:tab pos="180975" algn="l"/>
              </a:tabLst>
              <a:defRPr>
                <a:solidFill>
                  <a:schemeClr val="tx1"/>
                </a:solidFill>
                <a:latin typeface="Arial" charset="0"/>
              </a:defRPr>
            </a:lvl7pPr>
            <a:lvl8pPr marL="3429000" indent="-228600" defTabSz="762000" eaLnBrk="0" fontAlgn="base" hangingPunct="0">
              <a:spcBef>
                <a:spcPct val="0"/>
              </a:spcBef>
              <a:spcAft>
                <a:spcPct val="0"/>
              </a:spcAft>
              <a:tabLst>
                <a:tab pos="180975" algn="l"/>
              </a:tabLst>
              <a:defRPr>
                <a:solidFill>
                  <a:schemeClr val="tx1"/>
                </a:solidFill>
                <a:latin typeface="Arial" charset="0"/>
              </a:defRPr>
            </a:lvl8pPr>
            <a:lvl9pPr marL="3886200" indent="-228600" defTabSz="762000" eaLnBrk="0" fontAlgn="base" hangingPunct="0">
              <a:spcBef>
                <a:spcPct val="0"/>
              </a:spcBef>
              <a:spcAft>
                <a:spcPct val="0"/>
              </a:spcAft>
              <a:tabLst>
                <a:tab pos="180975" algn="l"/>
              </a:tabLst>
              <a:defRPr>
                <a:solidFill>
                  <a:schemeClr val="tx1"/>
                </a:solidFill>
                <a:latin typeface="Arial" charset="0"/>
              </a:defRPr>
            </a:lvl9pPr>
          </a:lstStyle>
          <a:p>
            <a:pPr algn="just">
              <a:lnSpc>
                <a:spcPct val="150000"/>
              </a:lnSpc>
            </a:pPr>
            <a:r>
              <a:rPr lang="en-GB" sz="1200" b="1" dirty="0"/>
              <a:t>Continuous display of operating status. </a:t>
            </a:r>
          </a:p>
          <a:p>
            <a:pPr algn="just">
              <a:lnSpc>
                <a:spcPct val="150000"/>
              </a:lnSpc>
            </a:pPr>
            <a:r>
              <a:rPr lang="en-GB" sz="1200" b="1" dirty="0"/>
              <a:t>Stored and accessible precise service information for quick trouble shooting, timely service and repairs.</a:t>
            </a:r>
          </a:p>
          <a:p>
            <a:pPr marL="171450" indent="-171450" algn="just">
              <a:lnSpc>
                <a:spcPct val="150000"/>
              </a:lnSpc>
              <a:buFont typeface="Arial" pitchFamily="34" charset="0"/>
              <a:buChar char="•"/>
            </a:pPr>
            <a:r>
              <a:rPr lang="en-GB" sz="1200" b="1" dirty="0" smtClean="0"/>
              <a:t>Plain </a:t>
            </a:r>
            <a:r>
              <a:rPr lang="en-GB" sz="1200" b="1" dirty="0"/>
              <a:t>text display for continuous monitoring</a:t>
            </a:r>
          </a:p>
          <a:p>
            <a:pPr marL="171450" indent="-171450" algn="just">
              <a:lnSpc>
                <a:spcPct val="150000"/>
              </a:lnSpc>
              <a:buFont typeface="Arial" pitchFamily="34" charset="0"/>
              <a:buChar char="•"/>
            </a:pPr>
            <a:r>
              <a:rPr lang="en-GB" sz="1200" b="1" dirty="0"/>
              <a:t>A</a:t>
            </a:r>
            <a:r>
              <a:rPr lang="en-GB" sz="1200" b="1" dirty="0" smtClean="0"/>
              <a:t>dditional </a:t>
            </a:r>
            <a:r>
              <a:rPr lang="en-GB" sz="1200" b="1" dirty="0"/>
              <a:t>acoustic warning with, if necessary, engine shut down</a:t>
            </a:r>
          </a:p>
          <a:p>
            <a:pPr marL="171450" indent="-171450" algn="just">
              <a:lnSpc>
                <a:spcPct val="150000"/>
              </a:lnSpc>
              <a:buFont typeface="Arial" pitchFamily="34" charset="0"/>
              <a:buChar char="•"/>
            </a:pPr>
            <a:r>
              <a:rPr lang="en-GB" sz="1200" b="1" dirty="0" smtClean="0"/>
              <a:t>Fault </a:t>
            </a:r>
            <a:r>
              <a:rPr lang="en-GB" sz="1200" b="1" dirty="0"/>
              <a:t>messages stored and can be downloaded</a:t>
            </a:r>
          </a:p>
          <a:p>
            <a:pPr marL="171450" indent="-171450" algn="just">
              <a:lnSpc>
                <a:spcPct val="150000"/>
              </a:lnSpc>
              <a:buFont typeface="Arial" pitchFamily="34" charset="0"/>
              <a:buChar char="•"/>
            </a:pPr>
            <a:r>
              <a:rPr lang="en-GB" sz="1200" b="1" dirty="0" smtClean="0"/>
              <a:t>Memory </a:t>
            </a:r>
            <a:r>
              <a:rPr lang="en-GB" sz="1200" b="1" dirty="0"/>
              <a:t>protected with battery back-up</a:t>
            </a:r>
          </a:p>
        </p:txBody>
      </p:sp>
      <p:sp>
        <p:nvSpPr>
          <p:cNvPr id="21507" name="Rectangle 3"/>
          <p:cNvSpPr>
            <a:spLocks noChangeArrowheads="1"/>
          </p:cNvSpPr>
          <p:nvPr/>
        </p:nvSpPr>
        <p:spPr bwMode="auto">
          <a:xfrm>
            <a:off x="3937000" y="3078163"/>
            <a:ext cx="3890963" cy="2984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defTabSz="762000" eaLnBrk="0" hangingPunct="0"/>
            <a:r>
              <a:rPr lang="en-GB" sz="1600" b="1"/>
              <a:t>Fault Monitoring and Storage </a:t>
            </a:r>
            <a:endParaRPr lang="en-GB" sz="1600" b="1">
              <a:latin typeface="Times New Roman" pitchFamily="18" charset="0"/>
            </a:endParaRPr>
          </a:p>
        </p:txBody>
      </p:sp>
      <p:sp>
        <p:nvSpPr>
          <p:cNvPr id="21508" name="Text Box 4"/>
          <p:cNvSpPr txBox="1">
            <a:spLocks noChangeArrowheads="1"/>
          </p:cNvSpPr>
          <p:nvPr/>
        </p:nvSpPr>
        <p:spPr bwMode="auto">
          <a:xfrm>
            <a:off x="828675" y="3487738"/>
            <a:ext cx="1389063" cy="3365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000" tIns="46800" rIns="90000" bIns="46800" anchor="ctr">
            <a:spAutoFit/>
          </a:bodyPr>
          <a:lstStyle>
            <a:lvl1pPr defTabSz="762000" eaLnBrk="0" hangingPunct="0">
              <a:defRPr>
                <a:solidFill>
                  <a:schemeClr val="tx1"/>
                </a:solidFill>
                <a:latin typeface="Arial" charset="0"/>
              </a:defRPr>
            </a:lvl1pPr>
            <a:lvl2pPr marL="742950" indent="-285750" defTabSz="762000" eaLnBrk="0" hangingPunct="0">
              <a:defRPr>
                <a:solidFill>
                  <a:schemeClr val="tx1"/>
                </a:solidFill>
                <a:latin typeface="Arial" charset="0"/>
              </a:defRPr>
            </a:lvl2pPr>
            <a:lvl3pPr marL="1143000" indent="-228600" defTabSz="762000" eaLnBrk="0" hangingPunct="0">
              <a:defRPr>
                <a:solidFill>
                  <a:schemeClr val="tx1"/>
                </a:solidFill>
                <a:latin typeface="Arial" charset="0"/>
              </a:defRPr>
            </a:lvl3pPr>
            <a:lvl4pPr marL="1600200" indent="-228600" defTabSz="762000" eaLnBrk="0" hangingPunct="0">
              <a:defRPr>
                <a:solidFill>
                  <a:schemeClr val="tx1"/>
                </a:solidFill>
                <a:latin typeface="Arial" charset="0"/>
              </a:defRPr>
            </a:lvl4pPr>
            <a:lvl5pPr marL="2057400" indent="-228600" defTabSz="762000" eaLnBrk="0" hangingPunct="0">
              <a:defRPr>
                <a:solidFill>
                  <a:schemeClr val="tx1"/>
                </a:solidFill>
                <a:latin typeface="Arial" charset="0"/>
              </a:defRPr>
            </a:lvl5pPr>
            <a:lvl6pPr marL="2514600" indent="-228600" defTabSz="762000" eaLnBrk="0" fontAlgn="base" hangingPunct="0">
              <a:spcBef>
                <a:spcPct val="0"/>
              </a:spcBef>
              <a:spcAft>
                <a:spcPct val="0"/>
              </a:spcAft>
              <a:defRPr>
                <a:solidFill>
                  <a:schemeClr val="tx1"/>
                </a:solidFill>
                <a:latin typeface="Arial" charset="0"/>
              </a:defRPr>
            </a:lvl6pPr>
            <a:lvl7pPr marL="2971800" indent="-228600" defTabSz="762000" eaLnBrk="0" fontAlgn="base" hangingPunct="0">
              <a:spcBef>
                <a:spcPct val="0"/>
              </a:spcBef>
              <a:spcAft>
                <a:spcPct val="0"/>
              </a:spcAft>
              <a:defRPr>
                <a:solidFill>
                  <a:schemeClr val="tx1"/>
                </a:solidFill>
                <a:latin typeface="Arial" charset="0"/>
              </a:defRPr>
            </a:lvl7pPr>
            <a:lvl8pPr marL="3429000" indent="-228600" defTabSz="762000" eaLnBrk="0" fontAlgn="base" hangingPunct="0">
              <a:spcBef>
                <a:spcPct val="0"/>
              </a:spcBef>
              <a:spcAft>
                <a:spcPct val="0"/>
              </a:spcAft>
              <a:defRPr>
                <a:solidFill>
                  <a:schemeClr val="tx1"/>
                </a:solidFill>
                <a:latin typeface="Arial" charset="0"/>
              </a:defRPr>
            </a:lvl8pPr>
            <a:lvl9pPr marL="3886200" indent="-228600" defTabSz="762000" eaLnBrk="0" fontAlgn="base" hangingPunct="0">
              <a:spcBef>
                <a:spcPct val="0"/>
              </a:spcBef>
              <a:spcAft>
                <a:spcPct val="0"/>
              </a:spcAft>
              <a:defRPr>
                <a:solidFill>
                  <a:schemeClr val="tx1"/>
                </a:solidFill>
                <a:latin typeface="Arial" charset="0"/>
              </a:defRPr>
            </a:lvl9pPr>
          </a:lstStyle>
          <a:p>
            <a:pPr algn="ctr"/>
            <a:r>
              <a:rPr lang="de-DE" sz="1600" b="1"/>
              <a:t>ETM System</a:t>
            </a:r>
          </a:p>
        </p:txBody>
      </p:sp>
      <p:pic>
        <p:nvPicPr>
          <p:cNvPr id="21509" name="Picture 5" descr="Kabine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68288" y="989013"/>
            <a:ext cx="2513012" cy="2343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1510" name="Picture 6"/>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46163" y="4016375"/>
            <a:ext cx="3529012" cy="20605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1511" name="Text Box 7"/>
          <p:cNvSpPr txBox="1">
            <a:spLocks noChangeArrowheads="1"/>
          </p:cNvSpPr>
          <p:nvPr/>
        </p:nvSpPr>
        <p:spPr bwMode="auto">
          <a:xfrm>
            <a:off x="34856" y="62738"/>
            <a:ext cx="2736944" cy="52540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000" tIns="46800" rIns="90000" bIns="46800" anchor="ctr">
            <a:spAutoFit/>
          </a:bodyPr>
          <a:lstStyle>
            <a:lvl1pPr defTabSz="762000" eaLnBrk="0" hangingPunct="0">
              <a:defRPr>
                <a:solidFill>
                  <a:schemeClr val="tx1"/>
                </a:solidFill>
                <a:latin typeface="Arial" charset="0"/>
              </a:defRPr>
            </a:lvl1pPr>
            <a:lvl2pPr marL="742950" indent="-285750" defTabSz="762000" eaLnBrk="0" hangingPunct="0">
              <a:defRPr>
                <a:solidFill>
                  <a:schemeClr val="tx1"/>
                </a:solidFill>
                <a:latin typeface="Arial" charset="0"/>
              </a:defRPr>
            </a:lvl2pPr>
            <a:lvl3pPr marL="1143000" indent="-228600" defTabSz="762000" eaLnBrk="0" hangingPunct="0">
              <a:defRPr>
                <a:solidFill>
                  <a:schemeClr val="tx1"/>
                </a:solidFill>
                <a:latin typeface="Arial" charset="0"/>
              </a:defRPr>
            </a:lvl3pPr>
            <a:lvl4pPr marL="1600200" indent="-228600" defTabSz="762000" eaLnBrk="0" hangingPunct="0">
              <a:defRPr>
                <a:solidFill>
                  <a:schemeClr val="tx1"/>
                </a:solidFill>
                <a:latin typeface="Arial" charset="0"/>
              </a:defRPr>
            </a:lvl4pPr>
            <a:lvl5pPr marL="2057400" indent="-228600" defTabSz="762000" eaLnBrk="0" hangingPunct="0">
              <a:defRPr>
                <a:solidFill>
                  <a:schemeClr val="tx1"/>
                </a:solidFill>
                <a:latin typeface="Arial" charset="0"/>
              </a:defRPr>
            </a:lvl5pPr>
            <a:lvl6pPr marL="2514600" indent="-228600" defTabSz="762000" eaLnBrk="0" fontAlgn="base" hangingPunct="0">
              <a:spcBef>
                <a:spcPct val="0"/>
              </a:spcBef>
              <a:spcAft>
                <a:spcPct val="0"/>
              </a:spcAft>
              <a:defRPr>
                <a:solidFill>
                  <a:schemeClr val="tx1"/>
                </a:solidFill>
                <a:latin typeface="Arial" charset="0"/>
              </a:defRPr>
            </a:lvl6pPr>
            <a:lvl7pPr marL="2971800" indent="-228600" defTabSz="762000" eaLnBrk="0" fontAlgn="base" hangingPunct="0">
              <a:spcBef>
                <a:spcPct val="0"/>
              </a:spcBef>
              <a:spcAft>
                <a:spcPct val="0"/>
              </a:spcAft>
              <a:defRPr>
                <a:solidFill>
                  <a:schemeClr val="tx1"/>
                </a:solidFill>
                <a:latin typeface="Arial" charset="0"/>
              </a:defRPr>
            </a:lvl7pPr>
            <a:lvl8pPr marL="3429000" indent="-228600" defTabSz="762000" eaLnBrk="0" fontAlgn="base" hangingPunct="0">
              <a:spcBef>
                <a:spcPct val="0"/>
              </a:spcBef>
              <a:spcAft>
                <a:spcPct val="0"/>
              </a:spcAft>
              <a:defRPr>
                <a:solidFill>
                  <a:schemeClr val="tx1"/>
                </a:solidFill>
                <a:latin typeface="Arial" charset="0"/>
              </a:defRPr>
            </a:lvl8pPr>
            <a:lvl9pPr marL="3886200" indent="-228600" defTabSz="762000" eaLnBrk="0" fontAlgn="base" hangingPunct="0">
              <a:spcBef>
                <a:spcPct val="0"/>
              </a:spcBef>
              <a:spcAft>
                <a:spcPct val="0"/>
              </a:spcAft>
              <a:defRPr>
                <a:solidFill>
                  <a:schemeClr val="tx1"/>
                </a:solidFill>
                <a:latin typeface="Arial" charset="0"/>
              </a:defRPr>
            </a:lvl9pPr>
          </a:lstStyle>
          <a:p>
            <a:pPr algn="ctr"/>
            <a:r>
              <a:rPr lang="en-GB" sz="2800" b="1" dirty="0">
                <a:solidFill>
                  <a:schemeClr val="bg1"/>
                </a:solidFill>
              </a:rPr>
              <a:t>Control </a:t>
            </a:r>
            <a:r>
              <a:rPr lang="en-GB" sz="2800" b="1" dirty="0" smtClean="0">
                <a:solidFill>
                  <a:schemeClr val="bg1"/>
                </a:solidFill>
              </a:rPr>
              <a:t>Panel :</a:t>
            </a:r>
            <a:endParaRPr lang="en-GB" sz="2800" b="1" dirty="0">
              <a:solidFill>
                <a:schemeClr val="bg1"/>
              </a:solidFill>
            </a:endParaRPr>
          </a:p>
        </p:txBody>
      </p:sp>
      <p:sp>
        <p:nvSpPr>
          <p:cNvPr id="21512" name="Text Box 8"/>
          <p:cNvSpPr txBox="1">
            <a:spLocks noChangeArrowheads="1"/>
          </p:cNvSpPr>
          <p:nvPr/>
        </p:nvSpPr>
        <p:spPr bwMode="auto">
          <a:xfrm>
            <a:off x="2742460" y="186548"/>
            <a:ext cx="4493836" cy="34073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000" tIns="46800" rIns="90000" bIns="46800" anchor="ctr">
            <a:spAutoFit/>
          </a:bodyPr>
          <a:lstStyle>
            <a:lvl1pPr defTabSz="762000" eaLnBrk="0" hangingPunct="0">
              <a:defRPr>
                <a:solidFill>
                  <a:schemeClr val="tx1"/>
                </a:solidFill>
                <a:latin typeface="Arial" charset="0"/>
              </a:defRPr>
            </a:lvl1pPr>
            <a:lvl2pPr marL="742950" indent="-285750" defTabSz="762000" eaLnBrk="0" hangingPunct="0">
              <a:defRPr>
                <a:solidFill>
                  <a:schemeClr val="tx1"/>
                </a:solidFill>
                <a:latin typeface="Arial" charset="0"/>
              </a:defRPr>
            </a:lvl2pPr>
            <a:lvl3pPr marL="1143000" indent="-228600" defTabSz="762000" eaLnBrk="0" hangingPunct="0">
              <a:defRPr>
                <a:solidFill>
                  <a:schemeClr val="tx1"/>
                </a:solidFill>
                <a:latin typeface="Arial" charset="0"/>
              </a:defRPr>
            </a:lvl3pPr>
            <a:lvl4pPr marL="1600200" indent="-228600" defTabSz="762000" eaLnBrk="0" hangingPunct="0">
              <a:defRPr>
                <a:solidFill>
                  <a:schemeClr val="tx1"/>
                </a:solidFill>
                <a:latin typeface="Arial" charset="0"/>
              </a:defRPr>
            </a:lvl4pPr>
            <a:lvl5pPr marL="2057400" indent="-228600" defTabSz="762000" eaLnBrk="0" hangingPunct="0">
              <a:defRPr>
                <a:solidFill>
                  <a:schemeClr val="tx1"/>
                </a:solidFill>
                <a:latin typeface="Arial" charset="0"/>
              </a:defRPr>
            </a:lvl5pPr>
            <a:lvl6pPr marL="2514600" indent="-228600" defTabSz="762000" eaLnBrk="0" fontAlgn="base" hangingPunct="0">
              <a:spcBef>
                <a:spcPct val="0"/>
              </a:spcBef>
              <a:spcAft>
                <a:spcPct val="0"/>
              </a:spcAft>
              <a:defRPr>
                <a:solidFill>
                  <a:schemeClr val="tx1"/>
                </a:solidFill>
                <a:latin typeface="Arial" charset="0"/>
              </a:defRPr>
            </a:lvl6pPr>
            <a:lvl7pPr marL="2971800" indent="-228600" defTabSz="762000" eaLnBrk="0" fontAlgn="base" hangingPunct="0">
              <a:spcBef>
                <a:spcPct val="0"/>
              </a:spcBef>
              <a:spcAft>
                <a:spcPct val="0"/>
              </a:spcAft>
              <a:defRPr>
                <a:solidFill>
                  <a:schemeClr val="tx1"/>
                </a:solidFill>
                <a:latin typeface="Arial" charset="0"/>
              </a:defRPr>
            </a:lvl7pPr>
            <a:lvl8pPr marL="3429000" indent="-228600" defTabSz="762000" eaLnBrk="0" fontAlgn="base" hangingPunct="0">
              <a:spcBef>
                <a:spcPct val="0"/>
              </a:spcBef>
              <a:spcAft>
                <a:spcPct val="0"/>
              </a:spcAft>
              <a:defRPr>
                <a:solidFill>
                  <a:schemeClr val="tx1"/>
                </a:solidFill>
                <a:latin typeface="Arial" charset="0"/>
              </a:defRPr>
            </a:lvl8pPr>
            <a:lvl9pPr marL="3886200" indent="-228600" defTabSz="762000" eaLnBrk="0" fontAlgn="base" hangingPunct="0">
              <a:spcBef>
                <a:spcPct val="0"/>
              </a:spcBef>
              <a:spcAft>
                <a:spcPct val="0"/>
              </a:spcAft>
              <a:defRPr>
                <a:solidFill>
                  <a:schemeClr val="tx1"/>
                </a:solidFill>
                <a:latin typeface="Arial" charset="0"/>
              </a:defRPr>
            </a:lvl9pPr>
          </a:lstStyle>
          <a:p>
            <a:pPr algn="ctr"/>
            <a:r>
              <a:rPr lang="en-GB" sz="1600" b="1" dirty="0">
                <a:solidFill>
                  <a:schemeClr val="bg1"/>
                </a:solidFill>
              </a:rPr>
              <a:t>Security in Operation and Machine Handling</a:t>
            </a:r>
          </a:p>
        </p:txBody>
      </p:sp>
      <p:sp>
        <p:nvSpPr>
          <p:cNvPr id="21513" name="Text Box 9"/>
          <p:cNvSpPr txBox="1">
            <a:spLocks noChangeArrowheads="1"/>
          </p:cNvSpPr>
          <p:nvPr/>
        </p:nvSpPr>
        <p:spPr bwMode="auto">
          <a:xfrm>
            <a:off x="2087563" y="6164263"/>
            <a:ext cx="1376362" cy="3365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000" tIns="46800" rIns="90000" bIns="46800" anchor="ctr">
            <a:spAutoFit/>
          </a:bodyPr>
          <a:lstStyle>
            <a:lvl1pPr defTabSz="762000" eaLnBrk="0" hangingPunct="0">
              <a:defRPr>
                <a:solidFill>
                  <a:schemeClr val="tx1"/>
                </a:solidFill>
                <a:latin typeface="Arial" charset="0"/>
              </a:defRPr>
            </a:lvl1pPr>
            <a:lvl2pPr marL="742950" indent="-285750" defTabSz="762000" eaLnBrk="0" hangingPunct="0">
              <a:defRPr>
                <a:solidFill>
                  <a:schemeClr val="tx1"/>
                </a:solidFill>
                <a:latin typeface="Arial" charset="0"/>
              </a:defRPr>
            </a:lvl2pPr>
            <a:lvl3pPr marL="1143000" indent="-228600" defTabSz="762000" eaLnBrk="0" hangingPunct="0">
              <a:defRPr>
                <a:solidFill>
                  <a:schemeClr val="tx1"/>
                </a:solidFill>
                <a:latin typeface="Arial" charset="0"/>
              </a:defRPr>
            </a:lvl3pPr>
            <a:lvl4pPr marL="1600200" indent="-228600" defTabSz="762000" eaLnBrk="0" hangingPunct="0">
              <a:defRPr>
                <a:solidFill>
                  <a:schemeClr val="tx1"/>
                </a:solidFill>
                <a:latin typeface="Arial" charset="0"/>
              </a:defRPr>
            </a:lvl4pPr>
            <a:lvl5pPr marL="2057400" indent="-228600" defTabSz="762000" eaLnBrk="0" hangingPunct="0">
              <a:defRPr>
                <a:solidFill>
                  <a:schemeClr val="tx1"/>
                </a:solidFill>
                <a:latin typeface="Arial" charset="0"/>
              </a:defRPr>
            </a:lvl5pPr>
            <a:lvl6pPr marL="2514600" indent="-228600" defTabSz="762000" eaLnBrk="0" fontAlgn="base" hangingPunct="0">
              <a:spcBef>
                <a:spcPct val="0"/>
              </a:spcBef>
              <a:spcAft>
                <a:spcPct val="0"/>
              </a:spcAft>
              <a:defRPr>
                <a:solidFill>
                  <a:schemeClr val="tx1"/>
                </a:solidFill>
                <a:latin typeface="Arial" charset="0"/>
              </a:defRPr>
            </a:lvl6pPr>
            <a:lvl7pPr marL="2971800" indent="-228600" defTabSz="762000" eaLnBrk="0" fontAlgn="base" hangingPunct="0">
              <a:spcBef>
                <a:spcPct val="0"/>
              </a:spcBef>
              <a:spcAft>
                <a:spcPct val="0"/>
              </a:spcAft>
              <a:defRPr>
                <a:solidFill>
                  <a:schemeClr val="tx1"/>
                </a:solidFill>
                <a:latin typeface="Arial" charset="0"/>
              </a:defRPr>
            </a:lvl7pPr>
            <a:lvl8pPr marL="3429000" indent="-228600" defTabSz="762000" eaLnBrk="0" fontAlgn="base" hangingPunct="0">
              <a:spcBef>
                <a:spcPct val="0"/>
              </a:spcBef>
              <a:spcAft>
                <a:spcPct val="0"/>
              </a:spcAft>
              <a:defRPr>
                <a:solidFill>
                  <a:schemeClr val="tx1"/>
                </a:solidFill>
                <a:latin typeface="Arial" charset="0"/>
              </a:defRPr>
            </a:lvl8pPr>
            <a:lvl9pPr marL="3886200" indent="-228600" defTabSz="762000" eaLnBrk="0" fontAlgn="base" hangingPunct="0">
              <a:spcBef>
                <a:spcPct val="0"/>
              </a:spcBef>
              <a:spcAft>
                <a:spcPct val="0"/>
              </a:spcAft>
              <a:defRPr>
                <a:solidFill>
                  <a:schemeClr val="tx1"/>
                </a:solidFill>
                <a:latin typeface="Arial" charset="0"/>
              </a:defRPr>
            </a:lvl9pPr>
          </a:lstStyle>
          <a:p>
            <a:pPr algn="ctr"/>
            <a:r>
              <a:rPr lang="de-DE" sz="1600" b="1"/>
              <a:t>ECS System</a:t>
            </a:r>
          </a:p>
        </p:txBody>
      </p:sp>
      <p:sp>
        <p:nvSpPr>
          <p:cNvPr id="21514" name="Text Box 13"/>
          <p:cNvSpPr txBox="1">
            <a:spLocks noChangeArrowheads="1"/>
          </p:cNvSpPr>
          <p:nvPr/>
        </p:nvSpPr>
        <p:spPr bwMode="auto">
          <a:xfrm>
            <a:off x="5724525" y="6173788"/>
            <a:ext cx="1546225" cy="3365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000" tIns="46800" rIns="90000" bIns="46800" anchor="ctr">
            <a:spAutoFit/>
          </a:bodyPr>
          <a:lstStyle>
            <a:lvl1pPr defTabSz="762000" eaLnBrk="0" hangingPunct="0">
              <a:defRPr>
                <a:solidFill>
                  <a:schemeClr val="tx1"/>
                </a:solidFill>
                <a:latin typeface="Arial" charset="0"/>
              </a:defRPr>
            </a:lvl1pPr>
            <a:lvl2pPr marL="742950" indent="-285750" defTabSz="762000" eaLnBrk="0" hangingPunct="0">
              <a:defRPr>
                <a:solidFill>
                  <a:schemeClr val="tx1"/>
                </a:solidFill>
                <a:latin typeface="Arial" charset="0"/>
              </a:defRPr>
            </a:lvl2pPr>
            <a:lvl3pPr marL="1143000" indent="-228600" defTabSz="762000" eaLnBrk="0" hangingPunct="0">
              <a:defRPr>
                <a:solidFill>
                  <a:schemeClr val="tx1"/>
                </a:solidFill>
                <a:latin typeface="Arial" charset="0"/>
              </a:defRPr>
            </a:lvl3pPr>
            <a:lvl4pPr marL="1600200" indent="-228600" defTabSz="762000" eaLnBrk="0" hangingPunct="0">
              <a:defRPr>
                <a:solidFill>
                  <a:schemeClr val="tx1"/>
                </a:solidFill>
                <a:latin typeface="Arial" charset="0"/>
              </a:defRPr>
            </a:lvl4pPr>
            <a:lvl5pPr marL="2057400" indent="-228600" defTabSz="762000" eaLnBrk="0" hangingPunct="0">
              <a:defRPr>
                <a:solidFill>
                  <a:schemeClr val="tx1"/>
                </a:solidFill>
                <a:latin typeface="Arial" charset="0"/>
              </a:defRPr>
            </a:lvl5pPr>
            <a:lvl6pPr marL="2514600" indent="-228600" defTabSz="762000" eaLnBrk="0" fontAlgn="base" hangingPunct="0">
              <a:spcBef>
                <a:spcPct val="0"/>
              </a:spcBef>
              <a:spcAft>
                <a:spcPct val="0"/>
              </a:spcAft>
              <a:defRPr>
                <a:solidFill>
                  <a:schemeClr val="tx1"/>
                </a:solidFill>
                <a:latin typeface="Arial" charset="0"/>
              </a:defRPr>
            </a:lvl6pPr>
            <a:lvl7pPr marL="2971800" indent="-228600" defTabSz="762000" eaLnBrk="0" fontAlgn="base" hangingPunct="0">
              <a:spcBef>
                <a:spcPct val="0"/>
              </a:spcBef>
              <a:spcAft>
                <a:spcPct val="0"/>
              </a:spcAft>
              <a:defRPr>
                <a:solidFill>
                  <a:schemeClr val="tx1"/>
                </a:solidFill>
                <a:latin typeface="Arial" charset="0"/>
              </a:defRPr>
            </a:lvl7pPr>
            <a:lvl8pPr marL="3429000" indent="-228600" defTabSz="762000" eaLnBrk="0" fontAlgn="base" hangingPunct="0">
              <a:spcBef>
                <a:spcPct val="0"/>
              </a:spcBef>
              <a:spcAft>
                <a:spcPct val="0"/>
              </a:spcAft>
              <a:defRPr>
                <a:solidFill>
                  <a:schemeClr val="tx1"/>
                </a:solidFill>
                <a:latin typeface="Arial" charset="0"/>
              </a:defRPr>
            </a:lvl8pPr>
            <a:lvl9pPr marL="3886200" indent="-228600" defTabSz="762000" eaLnBrk="0" fontAlgn="base" hangingPunct="0">
              <a:spcBef>
                <a:spcPct val="0"/>
              </a:spcBef>
              <a:spcAft>
                <a:spcPct val="0"/>
              </a:spcAft>
              <a:defRPr>
                <a:solidFill>
                  <a:schemeClr val="tx1"/>
                </a:solidFill>
                <a:latin typeface="Arial" charset="0"/>
              </a:defRPr>
            </a:lvl9pPr>
          </a:lstStyle>
          <a:p>
            <a:pPr algn="ctr"/>
            <a:r>
              <a:rPr lang="de-DE" sz="1600" b="1" dirty="0"/>
              <a:t>VHMS System</a:t>
            </a:r>
          </a:p>
        </p:txBody>
      </p:sp>
      <p:pic>
        <p:nvPicPr>
          <p:cNvPr id="21515" name="Picture 14" descr="DSCN710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365750" y="3640138"/>
            <a:ext cx="2262188" cy="24463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194710503"/>
      </p:ext>
    </p:extLst>
  </p:cSld>
  <p:clrMapOvr>
    <a:masterClrMapping/>
  </p:clrMapOvr>
  <p:transition>
    <p:wipe dir="r"/>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116632"/>
            <a:ext cx="8229600" cy="1143000"/>
          </a:xfrm>
        </p:spPr>
        <p:txBody>
          <a:bodyPr/>
          <a:lstStyle/>
          <a:p>
            <a:r>
              <a:rPr lang="en-US" dirty="0" smtClean="0">
                <a:solidFill>
                  <a:schemeClr val="bg1"/>
                </a:solidFill>
              </a:rPr>
              <a:t>In Mining, Size matters….</a:t>
            </a:r>
            <a:endParaRPr lang="en-US" dirty="0">
              <a:solidFill>
                <a:schemeClr val="bg1"/>
              </a:solidFill>
            </a:endParaRPr>
          </a:p>
        </p:txBody>
      </p:sp>
      <p:pic>
        <p:nvPicPr>
          <p:cNvPr id="3"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23875" y="1076262"/>
            <a:ext cx="8096250" cy="5377074"/>
          </a:xfrm>
          <a:prstGeom prst="rect">
            <a:avLst/>
          </a:prstGeom>
          <a:noFill/>
          <a:ln w="38100">
            <a:solidFill>
              <a:srgbClr val="00000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 name="Down Arrow 3"/>
          <p:cNvSpPr/>
          <p:nvPr/>
        </p:nvSpPr>
        <p:spPr>
          <a:xfrm rot="1050103">
            <a:off x="7591279" y="3200400"/>
            <a:ext cx="457200" cy="710343"/>
          </a:xfrm>
          <a:prstGeom prst="downArrow">
            <a:avLst/>
          </a:prstGeom>
          <a:solidFill>
            <a:srgbClr val="FFFF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Tree>
    <p:extLst>
      <p:ext uri="{BB962C8B-B14F-4D97-AF65-F5344CB8AC3E}">
        <p14:creationId xmlns:p14="http://schemas.microsoft.com/office/powerpoint/2010/main" val="419951525"/>
      </p:ext>
    </p:extLst>
  </p:cSld>
  <p:clrMapOvr>
    <a:masterClrMapping/>
  </p:clrMapOvr>
  <p:transition spd="slow">
    <p:wipe/>
  </p:transition>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6626" name="Picture 2"/>
          <p:cNvPicPr>
            <a:picLocks noChangeAspect="1" noChangeArrowheads="1"/>
          </p:cNvPicPr>
          <p:nvPr/>
        </p:nvPicPr>
        <p:blipFill>
          <a:blip r:embed="rId2" cstate="email">
            <a:clrChange>
              <a:clrFrom>
                <a:srgbClr val="FFFBF7"/>
              </a:clrFrom>
              <a:clrTo>
                <a:srgbClr val="FFFBF7">
                  <a:alpha val="0"/>
                </a:srgbClr>
              </a:clrTo>
            </a:clrChange>
            <a:extLst>
              <a:ext uri="{28A0092B-C50C-407E-A947-70E740481C1C}">
                <a14:useLocalDpi xmlns:a14="http://schemas.microsoft.com/office/drawing/2010/main"/>
              </a:ext>
            </a:extLst>
          </a:blip>
          <a:srcRect/>
          <a:stretch>
            <a:fillRect/>
          </a:stretch>
        </p:blipFill>
        <p:spPr bwMode="auto">
          <a:xfrm rot="14802012">
            <a:off x="4377430" y="1789636"/>
            <a:ext cx="4418940" cy="331420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 name="TextBox 3"/>
          <p:cNvSpPr txBox="1"/>
          <p:nvPr/>
        </p:nvSpPr>
        <p:spPr>
          <a:xfrm>
            <a:off x="762000" y="4209871"/>
            <a:ext cx="5943600" cy="1200329"/>
          </a:xfrm>
          <a:prstGeom prst="rect">
            <a:avLst/>
          </a:prstGeom>
          <a:noFill/>
        </p:spPr>
        <p:txBody>
          <a:bodyPr wrap="square" rtlCol="0">
            <a:spAutoFit/>
          </a:bodyPr>
          <a:lstStyle/>
          <a:p>
            <a:r>
              <a:rPr lang="en-US" sz="7200" b="1" dirty="0" smtClean="0">
                <a:latin typeface="Vivaldi" pitchFamily="66" charset="0"/>
              </a:rPr>
              <a:t>Thank You</a:t>
            </a:r>
            <a:endParaRPr lang="en-IN" sz="7200" b="1" dirty="0">
              <a:latin typeface="Vivaldi" pitchFamily="66" charset="0"/>
            </a:endParaRPr>
          </a:p>
        </p:txBody>
      </p:sp>
      <p:sp>
        <p:nvSpPr>
          <p:cNvPr id="5" name="Slide Number Placeholder 1"/>
          <p:cNvSpPr txBox="1">
            <a:spLocks/>
          </p:cNvSpPr>
          <p:nvPr/>
        </p:nvSpPr>
        <p:spPr>
          <a:xfrm>
            <a:off x="7907300" y="6578600"/>
            <a:ext cx="1224000" cy="25200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defRPr/>
            </a:pPr>
            <a:fld id="{98F5BEBD-2B98-49AC-9FA5-92479375398F}" type="slidenum">
              <a:rPr lang="en-US" sz="1400" kern="0" smtClean="0">
                <a:solidFill>
                  <a:schemeClr val="bg1"/>
                </a:solidFill>
                <a:latin typeface="Calibri"/>
              </a:rPr>
              <a:pPr algn="r">
                <a:defRPr/>
              </a:pPr>
              <a:t>30</a:t>
            </a:fld>
            <a:endParaRPr lang="en-US" sz="1400" kern="0" dirty="0">
              <a:solidFill>
                <a:schemeClr val="bg1"/>
              </a:solidFill>
              <a:latin typeface="Calibri"/>
            </a:endParaRPr>
          </a:p>
        </p:txBody>
      </p:sp>
    </p:spTree>
    <p:extLst>
      <p:ext uri="{BB962C8B-B14F-4D97-AF65-F5344CB8AC3E}">
        <p14:creationId xmlns:p14="http://schemas.microsoft.com/office/powerpoint/2010/main" val="987453786"/>
      </p:ext>
    </p:extLst>
  </p:cSld>
  <p:clrMapOvr>
    <a:masterClrMapping/>
  </p:clrMapOvr>
  <p:transition spd="slow">
    <p:wipe/>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Text Placeholder 1"/>
          <p:cNvSpPr>
            <a:spLocks noGrp="1"/>
          </p:cNvSpPr>
          <p:nvPr>
            <p:ph type="body" sz="quarter" idx="11"/>
          </p:nvPr>
        </p:nvSpPr>
        <p:spPr/>
        <p:txBody>
          <a:bodyPr anchor="ctr"/>
          <a:lstStyle/>
          <a:p>
            <a:r>
              <a:rPr lang="en-US" dirty="0" smtClean="0">
                <a:latin typeface="+mj-lt"/>
              </a:rPr>
              <a:t>Loading Tool : Shift</a:t>
            </a:r>
            <a:endParaRPr lang="en-US" dirty="0">
              <a:latin typeface="+mj-lt"/>
            </a:endParaRPr>
          </a:p>
        </p:txBody>
      </p:sp>
      <p:pic>
        <p:nvPicPr>
          <p:cNvPr id="5" name="Picture 27" descr="B495II"/>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457315" y="792670"/>
            <a:ext cx="3106573" cy="2102052"/>
          </a:xfrm>
          <a:prstGeom prst="rect">
            <a:avLst/>
          </a:prstGeom>
          <a:ln w="38100" cap="sq">
            <a:solidFill>
              <a:srgbClr val="000000"/>
            </a:solidFill>
            <a:prstDash val="solid"/>
            <a:miter lim="800000"/>
          </a:ln>
          <a:effectLst/>
          <a:extLst>
            <a:ext uri="{909E8E84-426E-40DD-AFC4-6F175D3DCCD1}">
              <a14:hiddenFill xmlns:a14="http://schemas.microsoft.com/office/drawing/2010/main">
                <a:solidFill>
                  <a:srgbClr val="FFFFFF"/>
                </a:solidFill>
              </a14:hiddenFill>
            </a:ext>
          </a:extLst>
        </p:spPr>
      </p:pic>
      <p:pic>
        <p:nvPicPr>
          <p:cNvPr id="6" name="Picture 12" descr="PICT2"/>
          <p:cNvPicPr>
            <a:picLocks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5207456" y="764704"/>
            <a:ext cx="3108960" cy="2157984"/>
          </a:xfrm>
          <a:prstGeom prst="rect">
            <a:avLst/>
          </a:prstGeom>
          <a:ln w="38100" cap="sq">
            <a:solidFill>
              <a:srgbClr val="000000"/>
            </a:solidFill>
            <a:prstDash val="solid"/>
            <a:miter lim="800000"/>
          </a:ln>
          <a:effectLst/>
        </p:spPr>
      </p:pic>
      <p:sp>
        <p:nvSpPr>
          <p:cNvPr id="2" name="Right Arrow 1"/>
          <p:cNvSpPr/>
          <p:nvPr/>
        </p:nvSpPr>
        <p:spPr bwMode="auto">
          <a:xfrm>
            <a:off x="3881624" y="1639123"/>
            <a:ext cx="978408" cy="484632"/>
          </a:xfrm>
          <a:prstGeom prst="rightArrow">
            <a:avLst/>
          </a:prstGeom>
          <a:solidFill>
            <a:srgbClr val="00B8FF"/>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457200" rtl="0" eaLnBrk="1" fontAlgn="base" latinLnBrk="0" hangingPunct="1">
              <a:lnSpc>
                <a:spcPct val="100000"/>
              </a:lnSpc>
              <a:spcBef>
                <a:spcPct val="0"/>
              </a:spcBef>
              <a:spcAft>
                <a:spcPct val="0"/>
              </a:spcAft>
              <a:buClr>
                <a:srgbClr val="000000"/>
              </a:buClr>
              <a:buSzPct val="100000"/>
              <a:buFont typeface="Times New Roman" pitchFamily="16" charset="0"/>
              <a:buNone/>
              <a:tabLst/>
            </a:pPr>
            <a:endParaRPr kumimoji="0" lang="en-US" sz="1800" b="0" i="0" u="none" strike="noStrike" cap="none" normalizeH="0" baseline="0" dirty="0" smtClean="0">
              <a:ln>
                <a:noFill/>
              </a:ln>
              <a:solidFill>
                <a:srgbClr val="00B050"/>
              </a:solidFill>
              <a:effectLst/>
              <a:latin typeface="Arial" charset="0"/>
              <a:cs typeface="Arial Unicode MS" charset="0"/>
            </a:endParaRPr>
          </a:p>
        </p:txBody>
      </p:sp>
      <p:sp>
        <p:nvSpPr>
          <p:cNvPr id="4" name="TextBox 3"/>
          <p:cNvSpPr txBox="1"/>
          <p:nvPr/>
        </p:nvSpPr>
        <p:spPr>
          <a:xfrm>
            <a:off x="899592" y="2996952"/>
            <a:ext cx="2429255" cy="369332"/>
          </a:xfrm>
          <a:prstGeom prst="rect">
            <a:avLst/>
          </a:prstGeom>
          <a:noFill/>
        </p:spPr>
        <p:txBody>
          <a:bodyPr wrap="none" rtlCol="0">
            <a:spAutoFit/>
          </a:bodyPr>
          <a:lstStyle/>
          <a:p>
            <a:r>
              <a:rPr lang="en-US" b="1" dirty="0" smtClean="0"/>
              <a:t>Electric Rope Shovels</a:t>
            </a:r>
            <a:endParaRPr lang="en-US" b="1" dirty="0"/>
          </a:p>
        </p:txBody>
      </p:sp>
      <p:sp>
        <p:nvSpPr>
          <p:cNvPr id="10" name="TextBox 9"/>
          <p:cNvSpPr txBox="1"/>
          <p:nvPr/>
        </p:nvSpPr>
        <p:spPr>
          <a:xfrm>
            <a:off x="5508104" y="2996952"/>
            <a:ext cx="2359300" cy="369332"/>
          </a:xfrm>
          <a:prstGeom prst="rect">
            <a:avLst/>
          </a:prstGeom>
          <a:noFill/>
        </p:spPr>
        <p:txBody>
          <a:bodyPr wrap="none" rtlCol="0">
            <a:spAutoFit/>
          </a:bodyPr>
          <a:lstStyle/>
          <a:p>
            <a:r>
              <a:rPr lang="en-US" b="1" dirty="0" err="1" smtClean="0"/>
              <a:t>Hydrualic</a:t>
            </a:r>
            <a:r>
              <a:rPr lang="en-US" b="1" dirty="0" smtClean="0"/>
              <a:t> </a:t>
            </a:r>
            <a:r>
              <a:rPr lang="en-US" b="1" dirty="0" smtClean="0"/>
              <a:t>Excavator </a:t>
            </a:r>
            <a:endParaRPr lang="en-US" b="1" dirty="0"/>
          </a:p>
        </p:txBody>
      </p:sp>
      <p:sp>
        <p:nvSpPr>
          <p:cNvPr id="7" name="TextBox 6"/>
          <p:cNvSpPr txBox="1"/>
          <p:nvPr/>
        </p:nvSpPr>
        <p:spPr>
          <a:xfrm>
            <a:off x="179513" y="3437126"/>
            <a:ext cx="8712968" cy="3016210"/>
          </a:xfrm>
          <a:prstGeom prst="rect">
            <a:avLst/>
          </a:prstGeom>
        </p:spPr>
        <p:style>
          <a:lnRef idx="2">
            <a:schemeClr val="accent3"/>
          </a:lnRef>
          <a:fillRef idx="1">
            <a:schemeClr val="lt1"/>
          </a:fillRef>
          <a:effectRef idx="0">
            <a:schemeClr val="accent3"/>
          </a:effectRef>
          <a:fontRef idx="minor">
            <a:schemeClr val="dk1"/>
          </a:fontRef>
        </p:style>
        <p:txBody>
          <a:bodyPr wrap="square" rtlCol="0">
            <a:spAutoFit/>
          </a:bodyPr>
          <a:lstStyle/>
          <a:p>
            <a:pPr marL="285750" indent="-285750" algn="just">
              <a:lnSpc>
                <a:spcPts val="1900"/>
              </a:lnSpc>
              <a:buFont typeface="Wingdings" pitchFamily="2" charset="2"/>
              <a:buChar char="§"/>
            </a:pPr>
            <a:r>
              <a:rPr lang="en-US" b="1" dirty="0" smtClean="0"/>
              <a:t>Electric Rope Shovels deployed by PSU Mining Cos.</a:t>
            </a:r>
          </a:p>
          <a:p>
            <a:pPr marL="285750" indent="-285750" algn="just">
              <a:lnSpc>
                <a:spcPts val="1900"/>
              </a:lnSpc>
              <a:buFont typeface="Wingdings" pitchFamily="2" charset="2"/>
              <a:buChar char="§"/>
            </a:pPr>
            <a:endParaRPr lang="en-US" b="1" dirty="0"/>
          </a:p>
          <a:p>
            <a:pPr marL="285750" indent="-285750" algn="just">
              <a:lnSpc>
                <a:spcPts val="1900"/>
              </a:lnSpc>
              <a:buFont typeface="Wingdings" pitchFamily="2" charset="2"/>
              <a:buChar char="§"/>
            </a:pPr>
            <a:r>
              <a:rPr lang="en-US" b="1" dirty="0" smtClean="0"/>
              <a:t>Hyd. Backhoes / Shovel  (10-34 Cu.M. Class) – Private sector Indian </a:t>
            </a:r>
            <a:r>
              <a:rPr lang="en-US" b="1" dirty="0"/>
              <a:t>Mining Cos. e.g. Hindustan Zinc,  EMTA,  </a:t>
            </a:r>
            <a:r>
              <a:rPr lang="en-US" b="1" dirty="0" err="1"/>
              <a:t>Jaypee</a:t>
            </a:r>
            <a:r>
              <a:rPr lang="en-US" b="1" dirty="0"/>
              <a:t> group, Electro steel, </a:t>
            </a:r>
            <a:r>
              <a:rPr lang="en-US" b="1" dirty="0" err="1" smtClean="0"/>
              <a:t>Essel</a:t>
            </a:r>
            <a:r>
              <a:rPr lang="en-US" b="1" dirty="0" smtClean="0"/>
              <a:t> </a:t>
            </a:r>
            <a:r>
              <a:rPr lang="en-US" b="1" dirty="0"/>
              <a:t>Mining, </a:t>
            </a:r>
            <a:r>
              <a:rPr lang="en-US" b="1" dirty="0" err="1" smtClean="0"/>
              <a:t>Mahaan</a:t>
            </a:r>
            <a:r>
              <a:rPr lang="en-US" b="1" dirty="0" smtClean="0"/>
              <a:t> Coal.</a:t>
            </a:r>
          </a:p>
          <a:p>
            <a:pPr algn="just">
              <a:lnSpc>
                <a:spcPts val="1900"/>
              </a:lnSpc>
            </a:pPr>
            <a:endParaRPr lang="en-US" b="1" dirty="0"/>
          </a:p>
          <a:p>
            <a:pPr marL="285750" indent="-285750" algn="just">
              <a:lnSpc>
                <a:spcPts val="1900"/>
              </a:lnSpc>
              <a:buFont typeface="Wingdings" pitchFamily="2" charset="2"/>
              <a:buChar char="§"/>
            </a:pPr>
            <a:r>
              <a:rPr lang="en-US" b="1" dirty="0" smtClean="0"/>
              <a:t>PSU Mining Co.  (SECL, NCL, SCCL, NMDC)  started procuring  (10-12 Cu.M.) class HEX.</a:t>
            </a:r>
            <a:endParaRPr lang="en-US" b="1" dirty="0"/>
          </a:p>
          <a:p>
            <a:pPr marL="285750" indent="-285750" algn="just">
              <a:lnSpc>
                <a:spcPts val="1900"/>
              </a:lnSpc>
              <a:buFont typeface="Wingdings" pitchFamily="2" charset="2"/>
              <a:buChar char="§"/>
            </a:pPr>
            <a:endParaRPr lang="en-US" b="1" dirty="0" smtClean="0"/>
          </a:p>
          <a:p>
            <a:pPr marL="285750" indent="-285750" algn="just">
              <a:lnSpc>
                <a:spcPts val="1900"/>
              </a:lnSpc>
              <a:buFont typeface="Wingdings" pitchFamily="2" charset="2"/>
              <a:buChar char="§"/>
            </a:pPr>
            <a:r>
              <a:rPr lang="en-US" b="1" dirty="0" smtClean="0"/>
              <a:t>Tendency to shift to Hyd. Backhoes  due to selective mining capability and higher productivity.</a:t>
            </a:r>
          </a:p>
          <a:p>
            <a:pPr marL="285750" indent="-285750" algn="just">
              <a:lnSpc>
                <a:spcPts val="1900"/>
              </a:lnSpc>
              <a:buFont typeface="Wingdings" pitchFamily="2" charset="2"/>
              <a:buChar char="§"/>
            </a:pPr>
            <a:endParaRPr lang="en-US" b="1" dirty="0"/>
          </a:p>
        </p:txBody>
      </p:sp>
    </p:spTree>
    <p:extLst>
      <p:ext uri="{BB962C8B-B14F-4D97-AF65-F5344CB8AC3E}">
        <p14:creationId xmlns:p14="http://schemas.microsoft.com/office/powerpoint/2010/main" val="862793220"/>
      </p:ext>
    </p:extLst>
  </p:cSld>
  <p:clrMapOvr>
    <a:masterClrMapping/>
  </p:clrMapOvr>
  <p:transition spd="slow">
    <p:wipe/>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Text Placeholder 1"/>
          <p:cNvSpPr>
            <a:spLocks noGrp="1"/>
          </p:cNvSpPr>
          <p:nvPr>
            <p:ph type="body" sz="quarter" idx="11"/>
          </p:nvPr>
        </p:nvSpPr>
        <p:spPr/>
        <p:txBody>
          <a:bodyPr anchor="ctr"/>
          <a:lstStyle/>
          <a:p>
            <a:r>
              <a:rPr lang="en-US" dirty="0" smtClean="0">
                <a:latin typeface="+mj-lt"/>
              </a:rPr>
              <a:t>Hauling Equipment – Increasing size</a:t>
            </a:r>
            <a:endParaRPr lang="en-US" dirty="0">
              <a:latin typeface="+mj-lt"/>
            </a:endParaRPr>
          </a:p>
        </p:txBody>
      </p:sp>
      <p:pic>
        <p:nvPicPr>
          <p:cNvPr id="6" name="Picture 10"/>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4788024" y="836712"/>
            <a:ext cx="4104457" cy="2611438"/>
          </a:xfrm>
          <a:prstGeom prst="rect">
            <a:avLst/>
          </a:prstGeom>
          <a:ln w="38100" cap="sq">
            <a:solidFill>
              <a:srgbClr val="000000"/>
            </a:solidFill>
            <a:prstDash val="solid"/>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7" name="Picture 8"/>
          <p:cNvPicPr>
            <a:picLocks noChangeAspect="1" noChangeArrowheads="1"/>
          </p:cNvPicPr>
          <p:nvPr/>
        </p:nvPicPr>
        <p:blipFill>
          <a:blip r:embed="rId3"/>
          <a:srcRect/>
          <a:stretch>
            <a:fillRect/>
          </a:stretch>
        </p:blipFill>
        <p:spPr bwMode="auto">
          <a:xfrm>
            <a:off x="611561" y="1412776"/>
            <a:ext cx="2520280" cy="1621085"/>
          </a:xfrm>
          <a:prstGeom prst="rect">
            <a:avLst/>
          </a:prstGeom>
          <a:ln w="38100" cap="sq">
            <a:solidFill>
              <a:srgbClr val="000000"/>
            </a:solidFill>
            <a:prstDash val="solid"/>
            <a:miter lim="800000"/>
          </a:ln>
          <a:effectLst/>
        </p:spPr>
      </p:pic>
      <p:sp>
        <p:nvSpPr>
          <p:cNvPr id="8" name="Right Arrow 7"/>
          <p:cNvSpPr/>
          <p:nvPr/>
        </p:nvSpPr>
        <p:spPr bwMode="auto">
          <a:xfrm>
            <a:off x="3491880" y="2008264"/>
            <a:ext cx="978408" cy="484632"/>
          </a:xfrm>
          <a:prstGeom prst="rightArrow">
            <a:avLst/>
          </a:prstGeom>
          <a:solidFill>
            <a:srgbClr val="00B8FF"/>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457200" rtl="0" eaLnBrk="1" fontAlgn="base" latinLnBrk="0" hangingPunct="1">
              <a:lnSpc>
                <a:spcPct val="100000"/>
              </a:lnSpc>
              <a:spcBef>
                <a:spcPct val="0"/>
              </a:spcBef>
              <a:spcAft>
                <a:spcPct val="0"/>
              </a:spcAft>
              <a:buClr>
                <a:srgbClr val="000000"/>
              </a:buClr>
              <a:buSzPct val="100000"/>
              <a:buFont typeface="Times New Roman" pitchFamily="16" charset="0"/>
              <a:buNone/>
              <a:tabLst/>
            </a:pPr>
            <a:endParaRPr kumimoji="0" lang="en-US" sz="1800" b="0" i="0" u="none" strike="noStrike" cap="none" normalizeH="0" baseline="0" dirty="0" smtClean="0">
              <a:ln>
                <a:noFill/>
              </a:ln>
              <a:solidFill>
                <a:srgbClr val="00B050"/>
              </a:solidFill>
              <a:effectLst/>
              <a:latin typeface="Arial" charset="0"/>
              <a:cs typeface="Arial Unicode MS" charset="0"/>
            </a:endParaRPr>
          </a:p>
        </p:txBody>
      </p:sp>
      <p:sp>
        <p:nvSpPr>
          <p:cNvPr id="2" name="TextBox 1"/>
          <p:cNvSpPr txBox="1"/>
          <p:nvPr/>
        </p:nvSpPr>
        <p:spPr>
          <a:xfrm>
            <a:off x="395536" y="4077072"/>
            <a:ext cx="8496944" cy="1887696"/>
          </a:xfrm>
          <a:prstGeom prst="rect">
            <a:avLst/>
          </a:prstGeom>
          <a:noFill/>
          <a:ln>
            <a:solidFill>
              <a:schemeClr val="tx2"/>
            </a:solidFill>
          </a:ln>
        </p:spPr>
        <p:txBody>
          <a:bodyPr wrap="square" rtlCol="0">
            <a:spAutoFit/>
          </a:bodyPr>
          <a:lstStyle/>
          <a:p>
            <a:pPr marL="285750" indent="-285750">
              <a:lnSpc>
                <a:spcPts val="2000"/>
              </a:lnSpc>
              <a:buFont typeface="Wingdings" pitchFamily="2" charset="2"/>
              <a:buChar char="§"/>
            </a:pPr>
            <a:r>
              <a:rPr lang="en-US" b="1" dirty="0" smtClean="0"/>
              <a:t>Industry moving to larger payload (up to 240T class) Dump trucks. </a:t>
            </a:r>
            <a:endParaRPr lang="en-US" b="1" dirty="0"/>
          </a:p>
          <a:p>
            <a:pPr marL="285750" indent="-285750">
              <a:lnSpc>
                <a:spcPts val="2000"/>
              </a:lnSpc>
              <a:buFont typeface="Wingdings" pitchFamily="2" charset="2"/>
              <a:buChar char="§"/>
            </a:pPr>
            <a:endParaRPr lang="en-US" b="1" dirty="0"/>
          </a:p>
          <a:p>
            <a:pPr marL="285750" indent="-285750">
              <a:lnSpc>
                <a:spcPts val="2000"/>
              </a:lnSpc>
              <a:buFont typeface="Wingdings" pitchFamily="2" charset="2"/>
              <a:buChar char="§"/>
            </a:pPr>
            <a:r>
              <a:rPr lang="en-US" b="1" dirty="0" smtClean="0"/>
              <a:t>Shift took place at PSU mining Cos. like SECL as well as Pvt. Mining Cos (HZL, Reliance, </a:t>
            </a:r>
            <a:r>
              <a:rPr lang="en-US" b="1" dirty="0" err="1" smtClean="0"/>
              <a:t>Essar</a:t>
            </a:r>
            <a:r>
              <a:rPr lang="en-US" b="1" dirty="0" smtClean="0"/>
              <a:t> ). </a:t>
            </a:r>
          </a:p>
          <a:p>
            <a:pPr marL="285750" indent="-285750">
              <a:lnSpc>
                <a:spcPts val="2000"/>
              </a:lnSpc>
              <a:buFont typeface="Wingdings" pitchFamily="2" charset="2"/>
              <a:buChar char="§"/>
            </a:pPr>
            <a:endParaRPr lang="en-US" b="1" dirty="0"/>
          </a:p>
          <a:p>
            <a:pPr marL="285750" indent="-285750">
              <a:lnSpc>
                <a:spcPts val="2000"/>
              </a:lnSpc>
              <a:buFont typeface="Wingdings" pitchFamily="2" charset="2"/>
              <a:buChar char="§"/>
            </a:pPr>
            <a:r>
              <a:rPr lang="en-US" b="1" dirty="0" smtClean="0"/>
              <a:t>Deployment of large capacity trucks due to  significant improvement in Productivity  with less manpower.</a:t>
            </a:r>
          </a:p>
        </p:txBody>
      </p:sp>
      <p:sp>
        <p:nvSpPr>
          <p:cNvPr id="3" name="TextBox 2"/>
          <p:cNvSpPr txBox="1"/>
          <p:nvPr/>
        </p:nvSpPr>
        <p:spPr>
          <a:xfrm>
            <a:off x="395536" y="3284984"/>
            <a:ext cx="3632982" cy="369332"/>
          </a:xfrm>
          <a:prstGeom prst="rect">
            <a:avLst/>
          </a:prstGeom>
          <a:solidFill>
            <a:schemeClr val="accent2">
              <a:lumMod val="20000"/>
              <a:lumOff val="80000"/>
            </a:schemeClr>
          </a:solidFill>
          <a:ln>
            <a:solidFill>
              <a:schemeClr val="accent1"/>
            </a:solidFill>
          </a:ln>
        </p:spPr>
        <p:txBody>
          <a:bodyPr wrap="none" rtlCol="0">
            <a:spAutoFit/>
          </a:bodyPr>
          <a:lstStyle/>
          <a:p>
            <a:r>
              <a:rPr lang="en-US" b="1" dirty="0" smtClean="0"/>
              <a:t>30 </a:t>
            </a:r>
            <a:r>
              <a:rPr lang="en-US" b="1" dirty="0"/>
              <a:t>T / </a:t>
            </a:r>
            <a:r>
              <a:rPr lang="en-US" b="1" dirty="0" smtClean="0"/>
              <a:t>40 T Payload dump trucks</a:t>
            </a:r>
            <a:endParaRPr lang="en-US" b="1" dirty="0"/>
          </a:p>
        </p:txBody>
      </p:sp>
      <p:sp>
        <p:nvSpPr>
          <p:cNvPr id="10" name="TextBox 9"/>
          <p:cNvSpPr txBox="1"/>
          <p:nvPr/>
        </p:nvSpPr>
        <p:spPr>
          <a:xfrm>
            <a:off x="4860032" y="3563724"/>
            <a:ext cx="4001737" cy="369332"/>
          </a:xfrm>
          <a:prstGeom prst="rect">
            <a:avLst/>
          </a:prstGeom>
          <a:solidFill>
            <a:schemeClr val="accent2">
              <a:lumMod val="20000"/>
              <a:lumOff val="80000"/>
            </a:schemeClr>
          </a:solidFill>
          <a:ln>
            <a:solidFill>
              <a:schemeClr val="accent1"/>
            </a:solidFill>
          </a:ln>
        </p:spPr>
        <p:txBody>
          <a:bodyPr wrap="none" rtlCol="0">
            <a:spAutoFit/>
          </a:bodyPr>
          <a:lstStyle/>
          <a:p>
            <a:r>
              <a:rPr lang="en-US" b="1" dirty="0" smtClean="0"/>
              <a:t>100 </a:t>
            </a:r>
            <a:r>
              <a:rPr lang="en-US" b="1" dirty="0"/>
              <a:t>T </a:t>
            </a:r>
            <a:r>
              <a:rPr lang="en-US" b="1" dirty="0" smtClean="0"/>
              <a:t> to 240T Payload dump trucks</a:t>
            </a:r>
            <a:endParaRPr lang="en-US" b="1" dirty="0"/>
          </a:p>
        </p:txBody>
      </p:sp>
    </p:spTree>
    <p:extLst>
      <p:ext uri="{BB962C8B-B14F-4D97-AF65-F5344CB8AC3E}">
        <p14:creationId xmlns:p14="http://schemas.microsoft.com/office/powerpoint/2010/main" val="1912795752"/>
      </p:ext>
    </p:extLst>
  </p:cSld>
  <p:clrMapOvr>
    <a:masterClrMapping/>
  </p:clrMapOvr>
  <p:transition spd="slow">
    <p:wipe/>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Text Placeholder 1"/>
          <p:cNvSpPr>
            <a:spLocks noGrp="1"/>
          </p:cNvSpPr>
          <p:nvPr>
            <p:ph type="body" sz="quarter" idx="11"/>
          </p:nvPr>
        </p:nvSpPr>
        <p:spPr>
          <a:xfrm>
            <a:off x="152400" y="58444"/>
            <a:ext cx="7371928" cy="533400"/>
          </a:xfrm>
        </p:spPr>
        <p:txBody>
          <a:bodyPr anchor="ctr"/>
          <a:lstStyle/>
          <a:p>
            <a:r>
              <a:rPr lang="en-US" dirty="0" smtClean="0">
                <a:latin typeface="+mj-lt"/>
              </a:rPr>
              <a:t> Benefits</a:t>
            </a:r>
            <a:r>
              <a:rPr lang="en-US" dirty="0">
                <a:latin typeface="+mj-lt"/>
              </a:rPr>
              <a:t> </a:t>
            </a:r>
            <a:r>
              <a:rPr lang="en-US" dirty="0" smtClean="0">
                <a:latin typeface="+mj-lt"/>
              </a:rPr>
              <a:t>– Large Capacity Equipment</a:t>
            </a:r>
            <a:endParaRPr lang="en-US" dirty="0">
              <a:latin typeface="+mj-lt"/>
            </a:endParaRPr>
          </a:p>
        </p:txBody>
      </p:sp>
      <p:sp>
        <p:nvSpPr>
          <p:cNvPr id="2" name="TextBox 1"/>
          <p:cNvSpPr txBox="1"/>
          <p:nvPr/>
        </p:nvSpPr>
        <p:spPr>
          <a:xfrm>
            <a:off x="467544" y="2852936"/>
            <a:ext cx="8136904" cy="3259867"/>
          </a:xfrm>
          <a:prstGeom prst="rect">
            <a:avLst/>
          </a:prstGeom>
          <a:noFill/>
          <a:ln>
            <a:solidFill>
              <a:schemeClr val="tx2"/>
            </a:solidFill>
          </a:ln>
        </p:spPr>
        <p:txBody>
          <a:bodyPr wrap="square" rtlCol="0">
            <a:spAutoFit/>
          </a:bodyPr>
          <a:lstStyle/>
          <a:p>
            <a:pPr marL="285750" indent="-285750">
              <a:lnSpc>
                <a:spcPts val="1900"/>
              </a:lnSpc>
              <a:buFont typeface="Wingdings" pitchFamily="2" charset="2"/>
              <a:buChar char="§"/>
            </a:pPr>
            <a:r>
              <a:rPr lang="en-US" b="1" dirty="0" smtClean="0"/>
              <a:t>Higher economic life.</a:t>
            </a:r>
          </a:p>
          <a:p>
            <a:pPr marL="285750" indent="-285750">
              <a:lnSpc>
                <a:spcPts val="1900"/>
              </a:lnSpc>
              <a:buFont typeface="Wingdings" pitchFamily="2" charset="2"/>
              <a:buChar char="§"/>
            </a:pPr>
            <a:endParaRPr lang="en-US" b="1" dirty="0"/>
          </a:p>
          <a:p>
            <a:pPr marL="285750" indent="-285750">
              <a:lnSpc>
                <a:spcPts val="1900"/>
              </a:lnSpc>
              <a:buFont typeface="Wingdings" pitchFamily="2" charset="2"/>
              <a:buChar char="§"/>
            </a:pPr>
            <a:r>
              <a:rPr lang="en-US" b="1" dirty="0" smtClean="0"/>
              <a:t>Enhanced productivity.</a:t>
            </a:r>
          </a:p>
          <a:p>
            <a:pPr>
              <a:lnSpc>
                <a:spcPts val="1900"/>
              </a:lnSpc>
            </a:pPr>
            <a:endParaRPr lang="en-US" b="1" dirty="0" smtClean="0"/>
          </a:p>
          <a:p>
            <a:pPr marL="285750" indent="-285750">
              <a:lnSpc>
                <a:spcPts val="1900"/>
              </a:lnSpc>
              <a:buFont typeface="Wingdings" pitchFamily="2" charset="2"/>
              <a:buChar char="§"/>
            </a:pPr>
            <a:r>
              <a:rPr lang="en-US" b="1" dirty="0"/>
              <a:t>Reduced Manpower.</a:t>
            </a:r>
          </a:p>
          <a:p>
            <a:pPr>
              <a:lnSpc>
                <a:spcPts val="1900"/>
              </a:lnSpc>
            </a:pPr>
            <a:endParaRPr lang="en-US" b="1" dirty="0"/>
          </a:p>
          <a:p>
            <a:pPr marL="285750" indent="-285750">
              <a:lnSpc>
                <a:spcPts val="1900"/>
              </a:lnSpc>
              <a:buFont typeface="Wingdings" pitchFamily="2" charset="2"/>
              <a:buChar char="§"/>
            </a:pPr>
            <a:r>
              <a:rPr lang="en-US" b="1" dirty="0" smtClean="0"/>
              <a:t>Reduced Cost per ton.</a:t>
            </a:r>
          </a:p>
          <a:p>
            <a:pPr>
              <a:lnSpc>
                <a:spcPts val="1900"/>
              </a:lnSpc>
            </a:pPr>
            <a:endParaRPr lang="en-US" b="1" dirty="0"/>
          </a:p>
          <a:p>
            <a:pPr marL="285750" indent="-285750">
              <a:lnSpc>
                <a:spcPts val="1900"/>
              </a:lnSpc>
              <a:buFont typeface="Wingdings" pitchFamily="2" charset="2"/>
              <a:buChar char="§"/>
            </a:pPr>
            <a:r>
              <a:rPr lang="en-US" b="1" dirty="0" smtClean="0"/>
              <a:t>Reduced in pit Traffic congestion.</a:t>
            </a:r>
          </a:p>
          <a:p>
            <a:pPr>
              <a:lnSpc>
                <a:spcPts val="1900"/>
              </a:lnSpc>
            </a:pPr>
            <a:endParaRPr lang="en-US" b="1" dirty="0"/>
          </a:p>
          <a:p>
            <a:pPr marL="285750" indent="-285750">
              <a:lnSpc>
                <a:spcPts val="1900"/>
              </a:lnSpc>
              <a:buFont typeface="Wingdings" pitchFamily="2" charset="2"/>
              <a:buChar char="§"/>
            </a:pPr>
            <a:r>
              <a:rPr lang="en-US" b="1" dirty="0" smtClean="0"/>
              <a:t>Enhanced in pit Safety.</a:t>
            </a:r>
          </a:p>
          <a:p>
            <a:pPr>
              <a:lnSpc>
                <a:spcPts val="1900"/>
              </a:lnSpc>
            </a:pPr>
            <a:endParaRPr lang="en-US" b="1" dirty="0"/>
          </a:p>
          <a:p>
            <a:pPr marL="285750" indent="-285750">
              <a:lnSpc>
                <a:spcPts val="1900"/>
              </a:lnSpc>
              <a:buFont typeface="Wingdings" pitchFamily="2" charset="2"/>
              <a:buChar char="§"/>
            </a:pPr>
            <a:r>
              <a:rPr lang="en-US" b="1" dirty="0" smtClean="0"/>
              <a:t>Enhanced Reliability due to  proven global technology.</a:t>
            </a:r>
            <a:endParaRPr lang="en-US" b="1" dirty="0"/>
          </a:p>
        </p:txBody>
      </p:sp>
      <p:pic>
        <p:nvPicPr>
          <p:cNvPr id="4098" name="Picture 2" descr="C:\Users\Dell\Desktop\Infraline ppt\photos\300px-Bagger-garzweiler.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359378" y="1636241"/>
            <a:ext cx="3810000" cy="1117600"/>
          </a:xfrm>
          <a:prstGeom prst="rect">
            <a:avLst/>
          </a:prstGeom>
          <a:noFill/>
          <a:extLst>
            <a:ext uri="{909E8E84-426E-40DD-AFC4-6F175D3DCCD1}">
              <a14:hiddenFill xmlns:a14="http://schemas.microsoft.com/office/drawing/2010/main">
                <a:solidFill>
                  <a:srgbClr val="FFFFFF"/>
                </a:solidFill>
              </a14:hiddenFill>
            </a:ext>
          </a:extLst>
        </p:spPr>
      </p:pic>
      <p:pic>
        <p:nvPicPr>
          <p:cNvPr id="4099" name="Picture 3" descr="C:\Users\Dell\Desktop\Infraline ppt\photos\Bkt Wheel excavator.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476283" y="3254892"/>
            <a:ext cx="2847975" cy="1600200"/>
          </a:xfrm>
          <a:prstGeom prst="rect">
            <a:avLst/>
          </a:prstGeom>
          <a:noFill/>
          <a:extLst>
            <a:ext uri="{909E8E84-426E-40DD-AFC4-6F175D3DCCD1}">
              <a14:hiddenFill xmlns:a14="http://schemas.microsoft.com/office/drawing/2010/main">
                <a:solidFill>
                  <a:srgbClr val="FFFFFF"/>
                </a:solidFill>
              </a14:hiddenFill>
            </a:ext>
          </a:extLst>
        </p:spPr>
      </p:pic>
      <p:pic>
        <p:nvPicPr>
          <p:cNvPr id="4100" name="Picture 4" descr="C:\Users\Dell\Desktop\Infraline ppt\photos\deep pit.jp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23528" y="764704"/>
            <a:ext cx="2619375" cy="1743075"/>
          </a:xfrm>
          <a:prstGeom prst="rect">
            <a:avLst/>
          </a:prstGeom>
          <a:ln w="38100" cap="sq">
            <a:solidFill>
              <a:srgbClr val="000000"/>
            </a:solidFill>
            <a:prstDash val="solid"/>
            <a:miter lim="800000"/>
          </a:ln>
          <a:effectLst/>
          <a:extLst>
            <a:ext uri="{909E8E84-426E-40DD-AFC4-6F175D3DCCD1}">
              <a14:hiddenFill xmlns:a14="http://schemas.microsoft.com/office/drawing/2010/main">
                <a:solidFill>
                  <a:srgbClr val="FFFFFF"/>
                </a:solidFill>
              </a14:hiddenFill>
            </a:ext>
          </a:extLst>
        </p:spPr>
      </p:pic>
      <p:pic>
        <p:nvPicPr>
          <p:cNvPr id="4101" name="Picture 5" descr="C:\Users\Dell\Desktop\Infraline ppt\photos\Komatsu_HEx_DT_loading.jp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156176" y="777776"/>
            <a:ext cx="2524125" cy="1809750"/>
          </a:xfrm>
          <a:prstGeom prst="rect">
            <a:avLst/>
          </a:prstGeom>
          <a:ln w="38100" cap="sq">
            <a:solidFill>
              <a:srgbClr val="000000"/>
            </a:solidFill>
            <a:prstDash val="solid"/>
            <a:miter lim="800000"/>
          </a:ln>
          <a:effectLst/>
          <a:extLst>
            <a:ext uri="{909E8E84-426E-40DD-AFC4-6F175D3DCCD1}">
              <a14:hiddenFill xmlns:a14="http://schemas.microsoft.com/office/drawing/2010/main">
                <a:solidFill>
                  <a:srgbClr val="FFFFFF"/>
                </a:solidFill>
              </a14:hiddenFill>
            </a:ext>
          </a:extLst>
        </p:spPr>
      </p:pic>
      <p:pic>
        <p:nvPicPr>
          <p:cNvPr id="4102" name="Picture 6" descr="C:\Users\Dell\Desktop\Infraline ppt\photos\Komatsu_HEx_DT_loading_1.jpg"/>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252961" y="764704"/>
            <a:ext cx="2543175" cy="1790700"/>
          </a:xfrm>
          <a:prstGeom prst="rect">
            <a:avLst/>
          </a:prstGeom>
          <a:ln w="38100" cap="sq">
            <a:solidFill>
              <a:srgbClr val="000000"/>
            </a:solidFill>
            <a:prstDash val="solid"/>
            <a:miter lim="800000"/>
          </a:ln>
          <a:effectLst/>
          <a:extLst>
            <a:ext uri="{909E8E84-426E-40DD-AFC4-6F175D3DCCD1}">
              <a14:hiddenFill xmlns:a14="http://schemas.microsoft.com/office/drawing/2010/main">
                <a:solidFill>
                  <a:srgbClr val="FFFFFF"/>
                </a:solidFill>
              </a14:hiddenFill>
            </a:ext>
          </a:extLst>
        </p:spPr>
      </p:pic>
      <p:pic>
        <p:nvPicPr>
          <p:cNvPr id="4103" name="Picture 7" descr="C:\Users\Dell\Desktop\Infraline ppt\photos\Komatsu_HEx_DT_loading.jp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360346" y="5301208"/>
            <a:ext cx="2524125" cy="18097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94745992"/>
      </p:ext>
    </p:extLst>
  </p:cSld>
  <p:clrMapOvr>
    <a:masterClrMapping/>
  </p:clrMapOvr>
  <p:transition spd="slow">
    <p:wipe/>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722313" y="2636912"/>
            <a:ext cx="7772400" cy="738311"/>
          </a:xfrm>
        </p:spPr>
        <p:txBody>
          <a:bodyPr/>
          <a:lstStyle/>
          <a:p>
            <a:pPr algn="ctr"/>
            <a:r>
              <a:rPr lang="en-US" sz="3200" b="1" dirty="0" smtClean="0"/>
              <a:t>Equipment Operating Systems</a:t>
            </a:r>
            <a:endParaRPr lang="en-IN" sz="3200" b="1" dirty="0"/>
          </a:p>
        </p:txBody>
      </p:sp>
    </p:spTree>
    <p:extLst>
      <p:ext uri="{BB962C8B-B14F-4D97-AF65-F5344CB8AC3E}">
        <p14:creationId xmlns:p14="http://schemas.microsoft.com/office/powerpoint/2010/main" val="1108182267"/>
      </p:ext>
    </p:extLst>
  </p:cSld>
  <p:clrMapOvr>
    <a:masterClrMapping/>
  </p:clrMapOvr>
  <p:transition spd="slow">
    <p:wipe/>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069" descr="D:\15-1.JPG"/>
          <p:cNvPicPr>
            <a:picLocks noChangeAspect="1" noChangeArrowheads="1"/>
          </p:cNvPicPr>
          <p:nvPr/>
        </p:nvPicPr>
        <p:blipFill>
          <a:blip r:embed="rId3" cstate="print"/>
          <a:srcRect/>
          <a:stretch>
            <a:fillRect/>
          </a:stretch>
        </p:blipFill>
        <p:spPr bwMode="auto">
          <a:xfrm>
            <a:off x="4724400" y="5334000"/>
            <a:ext cx="3352800" cy="743757"/>
          </a:xfrm>
          <a:prstGeom prst="rect">
            <a:avLst/>
          </a:prstGeom>
          <a:noFill/>
        </p:spPr>
      </p:pic>
      <p:pic>
        <p:nvPicPr>
          <p:cNvPr id="4" name="Picture 3"/>
          <p:cNvPicPr>
            <a:picLocks noChangeAspect="1" noChangeArrowheads="1"/>
          </p:cNvPicPr>
          <p:nvPr/>
        </p:nvPicPr>
        <p:blipFill>
          <a:blip r:embed="rId4" cstate="print"/>
          <a:srcRect/>
          <a:stretch>
            <a:fillRect/>
          </a:stretch>
        </p:blipFill>
        <p:spPr bwMode="auto">
          <a:xfrm>
            <a:off x="5867400" y="2209800"/>
            <a:ext cx="2209800" cy="1984151"/>
          </a:xfrm>
          <a:prstGeom prst="rect">
            <a:avLst/>
          </a:prstGeom>
          <a:noFill/>
          <a:ln w="9525">
            <a:noFill/>
            <a:miter lim="800000"/>
            <a:headEnd/>
            <a:tailEnd/>
          </a:ln>
        </p:spPr>
      </p:pic>
      <p:sp>
        <p:nvSpPr>
          <p:cNvPr id="5" name="TextBox 4"/>
          <p:cNvSpPr txBox="1"/>
          <p:nvPr/>
        </p:nvSpPr>
        <p:spPr>
          <a:xfrm>
            <a:off x="1417712" y="2895600"/>
            <a:ext cx="2362200" cy="769441"/>
          </a:xfrm>
          <a:prstGeom prst="rect">
            <a:avLst/>
          </a:prstGeom>
          <a:noFill/>
          <a:ln w="25400">
            <a:solidFill>
              <a:schemeClr val="accent1"/>
            </a:solidFill>
          </a:ln>
        </p:spPr>
        <p:txBody>
          <a:bodyPr wrap="square" rtlCol="0">
            <a:spAutoFit/>
          </a:bodyPr>
          <a:lstStyle/>
          <a:p>
            <a:r>
              <a:rPr lang="en-US" sz="4400" i="1" dirty="0" smtClean="0"/>
              <a:t>HYBRID</a:t>
            </a:r>
            <a:endParaRPr lang="en-US" sz="4400" i="1" dirty="0"/>
          </a:p>
        </p:txBody>
      </p:sp>
      <p:sp>
        <p:nvSpPr>
          <p:cNvPr id="6" name="TextBox 5"/>
          <p:cNvSpPr txBox="1"/>
          <p:nvPr/>
        </p:nvSpPr>
        <p:spPr>
          <a:xfrm>
            <a:off x="107504" y="914400"/>
            <a:ext cx="5283994" cy="584775"/>
          </a:xfrm>
          <a:prstGeom prst="rect">
            <a:avLst/>
          </a:prstGeom>
          <a:noFill/>
          <a:ln w="25400">
            <a:solidFill>
              <a:schemeClr val="accent1"/>
            </a:solidFill>
          </a:ln>
        </p:spPr>
        <p:txBody>
          <a:bodyPr wrap="square" rtlCol="0">
            <a:spAutoFit/>
          </a:bodyPr>
          <a:lstStyle/>
          <a:p>
            <a:r>
              <a:rPr lang="en-US" sz="3200" i="1" dirty="0" smtClean="0"/>
              <a:t>Intelligent Machine Control.</a:t>
            </a:r>
            <a:endParaRPr lang="en-US" sz="3200" i="1" dirty="0"/>
          </a:p>
        </p:txBody>
      </p:sp>
      <p:sp>
        <p:nvSpPr>
          <p:cNvPr id="7" name="AutoShape 13"/>
          <p:cNvSpPr>
            <a:spLocks noChangeArrowheads="1"/>
          </p:cNvSpPr>
          <p:nvPr/>
        </p:nvSpPr>
        <p:spPr bwMode="auto">
          <a:xfrm>
            <a:off x="3886200" y="5257800"/>
            <a:ext cx="673100" cy="903287"/>
          </a:xfrm>
          <a:prstGeom prst="rightArrow">
            <a:avLst>
              <a:gd name="adj1" fmla="val 51731"/>
              <a:gd name="adj2" fmla="val 60625"/>
            </a:avLst>
          </a:prstGeom>
          <a:solidFill>
            <a:srgbClr val="99CCFF"/>
          </a:solidFill>
          <a:ln w="12700" cap="rnd">
            <a:solidFill>
              <a:srgbClr val="006699"/>
            </a:solidFill>
            <a:miter lim="800000"/>
            <a:headEnd/>
            <a:tailEnd/>
          </a:ln>
        </p:spPr>
        <p:txBody>
          <a:bodyPr wrap="none" anchor="ctr"/>
          <a:lstStyle/>
          <a:p>
            <a:endParaRPr lang="ja-JP" altLang="en-US">
              <a:latin typeface="Times New Roman" charset="0"/>
              <a:cs typeface="Times New Roman" charset="0"/>
            </a:endParaRPr>
          </a:p>
        </p:txBody>
      </p:sp>
      <p:sp>
        <p:nvSpPr>
          <p:cNvPr id="8" name="AutoShape 13"/>
          <p:cNvSpPr>
            <a:spLocks noChangeArrowheads="1"/>
          </p:cNvSpPr>
          <p:nvPr/>
        </p:nvSpPr>
        <p:spPr bwMode="auto">
          <a:xfrm rot="16200000">
            <a:off x="6248400" y="4191000"/>
            <a:ext cx="673100" cy="903287"/>
          </a:xfrm>
          <a:prstGeom prst="rightArrow">
            <a:avLst>
              <a:gd name="adj1" fmla="val 51731"/>
              <a:gd name="adj2" fmla="val 60625"/>
            </a:avLst>
          </a:prstGeom>
          <a:solidFill>
            <a:srgbClr val="99CCFF"/>
          </a:solidFill>
          <a:ln w="12700" cap="rnd">
            <a:solidFill>
              <a:srgbClr val="006699"/>
            </a:solidFill>
            <a:miter lim="800000"/>
            <a:headEnd/>
            <a:tailEnd/>
          </a:ln>
        </p:spPr>
        <p:txBody>
          <a:bodyPr wrap="none" anchor="ctr"/>
          <a:lstStyle/>
          <a:p>
            <a:endParaRPr lang="ja-JP" altLang="en-US">
              <a:latin typeface="Times New Roman" charset="0"/>
              <a:cs typeface="Times New Roman" charset="0"/>
            </a:endParaRPr>
          </a:p>
        </p:txBody>
      </p:sp>
      <p:sp>
        <p:nvSpPr>
          <p:cNvPr id="9" name="AutoShape 13"/>
          <p:cNvSpPr>
            <a:spLocks noChangeArrowheads="1"/>
          </p:cNvSpPr>
          <p:nvPr/>
        </p:nvSpPr>
        <p:spPr bwMode="auto">
          <a:xfrm rot="10800000">
            <a:off x="4343400" y="2743200"/>
            <a:ext cx="673100" cy="903287"/>
          </a:xfrm>
          <a:prstGeom prst="rightArrow">
            <a:avLst>
              <a:gd name="adj1" fmla="val 51731"/>
              <a:gd name="adj2" fmla="val 60625"/>
            </a:avLst>
          </a:prstGeom>
          <a:solidFill>
            <a:srgbClr val="99CCFF"/>
          </a:solidFill>
          <a:ln w="12700" cap="rnd">
            <a:solidFill>
              <a:srgbClr val="006699"/>
            </a:solidFill>
            <a:miter lim="800000"/>
            <a:headEnd/>
            <a:tailEnd/>
          </a:ln>
        </p:spPr>
        <p:txBody>
          <a:bodyPr wrap="none" anchor="ctr"/>
          <a:lstStyle/>
          <a:p>
            <a:endParaRPr lang="ja-JP" altLang="en-US">
              <a:latin typeface="Times New Roman" charset="0"/>
              <a:cs typeface="Times New Roman" charset="0"/>
            </a:endParaRPr>
          </a:p>
        </p:txBody>
      </p:sp>
      <p:sp>
        <p:nvSpPr>
          <p:cNvPr id="10" name="AutoShape 13"/>
          <p:cNvSpPr>
            <a:spLocks noChangeArrowheads="1"/>
          </p:cNvSpPr>
          <p:nvPr/>
        </p:nvSpPr>
        <p:spPr bwMode="auto">
          <a:xfrm rot="16200000">
            <a:off x="2218605" y="1713706"/>
            <a:ext cx="673100" cy="903287"/>
          </a:xfrm>
          <a:prstGeom prst="rightArrow">
            <a:avLst>
              <a:gd name="adj1" fmla="val 51731"/>
              <a:gd name="adj2" fmla="val 60625"/>
            </a:avLst>
          </a:prstGeom>
          <a:solidFill>
            <a:srgbClr val="99CCFF"/>
          </a:solidFill>
          <a:ln w="12700" cap="rnd">
            <a:solidFill>
              <a:srgbClr val="006699"/>
            </a:solidFill>
            <a:miter lim="800000"/>
            <a:headEnd/>
            <a:tailEnd/>
          </a:ln>
        </p:spPr>
        <p:txBody>
          <a:bodyPr wrap="none" anchor="ctr"/>
          <a:lstStyle/>
          <a:p>
            <a:endParaRPr lang="ja-JP" altLang="en-US">
              <a:latin typeface="Times New Roman" charset="0"/>
              <a:cs typeface="Times New Roman" charset="0"/>
            </a:endParaRPr>
          </a:p>
        </p:txBody>
      </p:sp>
      <p:pic>
        <p:nvPicPr>
          <p:cNvPr id="27650" name="Picture 2"/>
          <p:cNvPicPr>
            <a:picLocks noChangeAspect="1" noChangeArrowheads="1"/>
          </p:cNvPicPr>
          <p:nvPr/>
        </p:nvPicPr>
        <p:blipFill>
          <a:blip r:embed="rId5" cstate="print"/>
          <a:srcRect/>
          <a:stretch>
            <a:fillRect/>
          </a:stretch>
        </p:blipFill>
        <p:spPr bwMode="auto">
          <a:xfrm>
            <a:off x="685800" y="5105400"/>
            <a:ext cx="2724150" cy="1066800"/>
          </a:xfrm>
          <a:prstGeom prst="rect">
            <a:avLst/>
          </a:prstGeom>
          <a:noFill/>
          <a:ln w="9525">
            <a:noFill/>
            <a:miter lim="800000"/>
            <a:headEnd/>
            <a:tailEnd/>
          </a:ln>
        </p:spPr>
      </p:pic>
    </p:spTree>
    <p:extLst>
      <p:ext uri="{BB962C8B-B14F-4D97-AF65-F5344CB8AC3E}">
        <p14:creationId xmlns:p14="http://schemas.microsoft.com/office/powerpoint/2010/main" val="1757469668"/>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6" presetClass="entr" presetSubtype="37" fill="hold"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barn(outVertical)">
                                      <p:cBhvr>
                                        <p:cTn id="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6626" name="Picture 2"/>
          <p:cNvPicPr>
            <a:picLocks noChangeAspect="1" noChangeArrowheads="1"/>
          </p:cNvPicPr>
          <p:nvPr/>
        </p:nvPicPr>
        <p:blipFill>
          <a:blip r:embed="rId3" cstate="print"/>
          <a:srcRect/>
          <a:stretch>
            <a:fillRect/>
          </a:stretch>
        </p:blipFill>
        <p:spPr bwMode="auto">
          <a:xfrm>
            <a:off x="323528" y="44624"/>
            <a:ext cx="2724150" cy="1066800"/>
          </a:xfrm>
          <a:prstGeom prst="rect">
            <a:avLst/>
          </a:prstGeom>
          <a:noFill/>
          <a:ln w="9525">
            <a:noFill/>
            <a:miter lim="800000"/>
            <a:headEnd/>
            <a:tailEnd/>
          </a:ln>
        </p:spPr>
      </p:pic>
      <p:pic>
        <p:nvPicPr>
          <p:cNvPr id="26627" name="Picture 3"/>
          <p:cNvPicPr>
            <a:picLocks noChangeAspect="1" noChangeArrowheads="1"/>
          </p:cNvPicPr>
          <p:nvPr/>
        </p:nvPicPr>
        <p:blipFill>
          <a:blip r:embed="rId4" cstate="print"/>
          <a:srcRect/>
          <a:stretch>
            <a:fillRect/>
          </a:stretch>
        </p:blipFill>
        <p:spPr bwMode="auto">
          <a:xfrm>
            <a:off x="251520" y="1484784"/>
            <a:ext cx="3781378" cy="4314801"/>
          </a:xfrm>
          <a:prstGeom prst="rect">
            <a:avLst/>
          </a:prstGeom>
          <a:noFill/>
          <a:ln w="9525">
            <a:noFill/>
            <a:miter lim="800000"/>
            <a:headEnd/>
            <a:tailEnd/>
          </a:ln>
        </p:spPr>
      </p:pic>
      <p:sp>
        <p:nvSpPr>
          <p:cNvPr id="2" name="TextBox 1"/>
          <p:cNvSpPr txBox="1"/>
          <p:nvPr/>
        </p:nvSpPr>
        <p:spPr>
          <a:xfrm>
            <a:off x="4211960" y="1628800"/>
            <a:ext cx="4512940" cy="4038350"/>
          </a:xfrm>
          <a:prstGeom prst="rect">
            <a:avLst/>
          </a:prstGeom>
          <a:noFill/>
          <a:ln>
            <a:solidFill>
              <a:schemeClr val="tx2"/>
            </a:solidFill>
          </a:ln>
        </p:spPr>
        <p:txBody>
          <a:bodyPr wrap="square" rtlCol="0">
            <a:spAutoFit/>
          </a:bodyPr>
          <a:lstStyle/>
          <a:p>
            <a:pPr>
              <a:lnSpc>
                <a:spcPts val="3100"/>
              </a:lnSpc>
            </a:pPr>
            <a:r>
              <a:rPr lang="en-US" sz="2400" b="1" dirty="0" err="1" smtClean="0"/>
              <a:t>Hydraumind</a:t>
            </a:r>
            <a:r>
              <a:rPr lang="en-US" sz="2400" b="1" dirty="0" smtClean="0"/>
              <a:t> : “</a:t>
            </a:r>
            <a:r>
              <a:rPr lang="en-US" sz="2400" b="1" dirty="0" smtClean="0">
                <a:solidFill>
                  <a:schemeClr val="accent2"/>
                </a:solidFill>
              </a:rPr>
              <a:t>Hydrau</a:t>
            </a:r>
            <a:r>
              <a:rPr lang="en-US" sz="2400" b="1" dirty="0" smtClean="0"/>
              <a:t>lic-</a:t>
            </a:r>
            <a:r>
              <a:rPr lang="en-US" sz="2400" b="1" dirty="0" smtClean="0">
                <a:solidFill>
                  <a:schemeClr val="accent2"/>
                </a:solidFill>
              </a:rPr>
              <a:t>M</a:t>
            </a:r>
            <a:r>
              <a:rPr lang="en-US" sz="2400" b="1" dirty="0" smtClean="0"/>
              <a:t>echanical </a:t>
            </a:r>
            <a:r>
              <a:rPr lang="en-US" sz="2400" b="1" dirty="0" smtClean="0">
                <a:solidFill>
                  <a:schemeClr val="accent2"/>
                </a:solidFill>
              </a:rPr>
              <a:t>I</a:t>
            </a:r>
            <a:r>
              <a:rPr lang="en-US" sz="2400" b="1" dirty="0" smtClean="0"/>
              <a:t>ntelligent </a:t>
            </a:r>
            <a:r>
              <a:rPr lang="en-US" sz="2400" b="1" dirty="0" smtClean="0">
                <a:solidFill>
                  <a:schemeClr val="accent2"/>
                </a:solidFill>
              </a:rPr>
              <a:t>N</a:t>
            </a:r>
            <a:r>
              <a:rPr lang="en-US" sz="2400" b="1" dirty="0" smtClean="0"/>
              <a:t>ew </a:t>
            </a:r>
            <a:r>
              <a:rPr lang="en-US" sz="2400" b="1" dirty="0" smtClean="0">
                <a:solidFill>
                  <a:schemeClr val="accent2"/>
                </a:solidFill>
              </a:rPr>
              <a:t>D</a:t>
            </a:r>
            <a:r>
              <a:rPr lang="en-US" sz="2400" b="1" dirty="0" smtClean="0"/>
              <a:t>esign</a:t>
            </a:r>
          </a:p>
          <a:p>
            <a:pPr marL="285750" indent="-285750">
              <a:lnSpc>
                <a:spcPts val="3100"/>
              </a:lnSpc>
              <a:buFont typeface="Arial" pitchFamily="34" charset="0"/>
              <a:buChar char="•"/>
            </a:pPr>
            <a:r>
              <a:rPr lang="en-US" sz="2400" b="1" dirty="0" smtClean="0"/>
              <a:t>Integrated Hydraulic &amp; mechanical systems, which supervises the excavators operations.</a:t>
            </a:r>
          </a:p>
          <a:p>
            <a:pPr marL="285750" indent="-285750">
              <a:lnSpc>
                <a:spcPts val="3100"/>
              </a:lnSpc>
              <a:buFont typeface="Arial" pitchFamily="34" charset="0"/>
              <a:buChar char="•"/>
            </a:pPr>
            <a:r>
              <a:rPr lang="en-US" sz="2400" b="1" dirty="0" smtClean="0"/>
              <a:t>Not computer dependent &amp; not even essentially electronically controlled.</a:t>
            </a:r>
            <a:endParaRPr lang="en-IN" sz="2400" b="1" dirty="0"/>
          </a:p>
        </p:txBody>
      </p:sp>
    </p:spTree>
    <p:extLst>
      <p:ext uri="{BB962C8B-B14F-4D97-AF65-F5344CB8AC3E}">
        <p14:creationId xmlns:p14="http://schemas.microsoft.com/office/powerpoint/2010/main" val="2863244467"/>
      </p:ext>
    </p:extLst>
  </p:cSld>
  <p:clrMapOvr>
    <a:masterClrMapping/>
  </p:clrMapOvr>
  <p:transition spd="slow">
    <p:wipe/>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2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Cambbria">
      <a:majorFont>
        <a:latin typeface="Cambria"/>
        <a:ea typeface=""/>
        <a:cs typeface=""/>
      </a:majorFont>
      <a:minorFont>
        <a:latin typeface="Cambri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00B8FF"/>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457200" rtl="0" eaLnBrk="1" fontAlgn="base" latinLnBrk="0" hangingPunct="1">
          <a:lnSpc>
            <a:spcPct val="100000"/>
          </a:lnSpc>
          <a:spcBef>
            <a:spcPct val="0"/>
          </a:spcBef>
          <a:spcAft>
            <a:spcPct val="0"/>
          </a:spcAft>
          <a:buClr>
            <a:srgbClr val="000000"/>
          </a:buClr>
          <a:buSzPct val="100000"/>
          <a:buFont typeface="Times New Roman" pitchFamily="16" charset="0"/>
          <a:buNone/>
          <a:tabLst/>
          <a:defRPr kumimoji="0" lang="en-GB" sz="1800" b="0" i="0" u="none" strike="noStrike" cap="none" normalizeH="0" baseline="0" smtClean="0">
            <a:ln>
              <a:noFill/>
            </a:ln>
            <a:solidFill>
              <a:schemeClr val="bg1"/>
            </a:solidFill>
            <a:effectLst/>
            <a:latin typeface="Arial" charset="0"/>
            <a:cs typeface="Arial Unicode MS" charset="0"/>
          </a:defRPr>
        </a:defPPr>
      </a:lstStyle>
    </a:spDef>
    <a:lnDef>
      <a:spPr bwMode="auto">
        <a:xfrm>
          <a:off x="0" y="0"/>
          <a:ext cx="1" cy="1"/>
        </a:xfrm>
        <a:custGeom>
          <a:avLst/>
          <a:gdLst/>
          <a:ahLst/>
          <a:cxnLst/>
          <a:rect l="0" t="0" r="0" b="0"/>
          <a:pathLst/>
        </a:custGeom>
        <a:solidFill>
          <a:srgbClr val="00B8FF"/>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457200" rtl="0" eaLnBrk="1" fontAlgn="base" latinLnBrk="0" hangingPunct="1">
          <a:lnSpc>
            <a:spcPct val="100000"/>
          </a:lnSpc>
          <a:spcBef>
            <a:spcPct val="0"/>
          </a:spcBef>
          <a:spcAft>
            <a:spcPct val="0"/>
          </a:spcAft>
          <a:buClr>
            <a:srgbClr val="000000"/>
          </a:buClr>
          <a:buSzPct val="100000"/>
          <a:buFont typeface="Times New Roman" pitchFamily="16" charset="0"/>
          <a:buNone/>
          <a:tabLst/>
          <a:defRPr kumimoji="0" lang="en-GB" sz="1800" b="0" i="0" u="none" strike="noStrike" cap="none" normalizeH="0" baseline="0" smtClean="0">
            <a:ln>
              <a:noFill/>
            </a:ln>
            <a:solidFill>
              <a:schemeClr val="bg1"/>
            </a:solidFill>
            <a:effectLst/>
            <a:latin typeface="Arial" charset="0"/>
            <a:cs typeface="Arial Unicode MS" charset="0"/>
          </a:defRPr>
        </a:defPPr>
      </a:lstStyle>
    </a:lnDef>
  </a:objectDefaults>
  <a:extraClrSchemeLst>
    <a:extraClrScheme>
      <a:clrScheme name="Office Theme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Office Theme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Office Theme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Office Theme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Office Theme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Office Theme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Office Theme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2097</TotalTime>
  <Words>1709</Words>
  <Application>Microsoft Office PowerPoint</Application>
  <PresentationFormat>On-screen Show (4:3)</PresentationFormat>
  <Paragraphs>349</Paragraphs>
  <Slides>30</Slides>
  <Notes>15</Notes>
  <HiddenSlides>0</HiddenSlides>
  <MMClips>0</MMClips>
  <ScaleCrop>false</ScaleCrop>
  <HeadingPairs>
    <vt:vector size="6" baseType="variant">
      <vt:variant>
        <vt:lpstr>Theme</vt:lpstr>
      </vt:variant>
      <vt:variant>
        <vt:i4>1</vt:i4>
      </vt:variant>
      <vt:variant>
        <vt:lpstr>Embedded OLE Servers</vt:lpstr>
      </vt:variant>
      <vt:variant>
        <vt:i4>5</vt:i4>
      </vt:variant>
      <vt:variant>
        <vt:lpstr>Slide Titles</vt:lpstr>
      </vt:variant>
      <vt:variant>
        <vt:i4>30</vt:i4>
      </vt:variant>
    </vt:vector>
  </HeadingPairs>
  <TitlesOfParts>
    <vt:vector size="36" baseType="lpstr">
      <vt:lpstr>2_Office Theme</vt:lpstr>
      <vt:lpstr>think-cell Slide</vt:lpstr>
      <vt:lpstr>Chart</vt:lpstr>
      <vt:lpstr>Clip</vt:lpstr>
      <vt:lpstr>Bitmap Image</vt:lpstr>
      <vt:lpstr>Photo Editor Photo</vt:lpstr>
      <vt:lpstr>PowerPoint Presentation</vt:lpstr>
      <vt:lpstr>Trends</vt:lpstr>
      <vt:lpstr>In Mining, Size matter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High Technologies (AHS) –Unmanned Dump Trucks </vt:lpstr>
      <vt:lpstr>Trolley Assist</vt:lpstr>
      <vt:lpstr>Application Zones</vt:lpstr>
      <vt:lpstr>PowerPoint Presentation</vt:lpstr>
      <vt:lpstr>KOMTRAX:</vt:lpstr>
      <vt:lpstr>PowerPoint Presentation</vt:lpstr>
      <vt:lpstr>PowerPoint Presentation</vt:lpstr>
      <vt:lpstr>KOMTRAX Plu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Anil Sharda</dc:creator>
  <cp:lastModifiedBy>MANISH</cp:lastModifiedBy>
  <cp:revision>267</cp:revision>
  <dcterms:created xsi:type="dcterms:W3CDTF">2012-12-20T11:31:38Z</dcterms:created>
  <dcterms:modified xsi:type="dcterms:W3CDTF">2013-11-11T12:46:39Z</dcterms:modified>
</cp:coreProperties>
</file>